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1.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2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9.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30.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31.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32.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5" r:id="rId5"/>
  </p:sldMasterIdLst>
  <p:notesMasterIdLst>
    <p:notesMasterId r:id="rId42"/>
  </p:notesMasterIdLst>
  <p:sldIdLst>
    <p:sldId id="270" r:id="rId6"/>
    <p:sldId id="321" r:id="rId7"/>
    <p:sldId id="284" r:id="rId8"/>
    <p:sldId id="605" r:id="rId9"/>
    <p:sldId id="299" r:id="rId10"/>
    <p:sldId id="621" r:id="rId11"/>
    <p:sldId id="352" r:id="rId12"/>
    <p:sldId id="1736" r:id="rId13"/>
    <p:sldId id="622" r:id="rId14"/>
    <p:sldId id="628" r:id="rId15"/>
    <p:sldId id="625" r:id="rId16"/>
    <p:sldId id="399" r:id="rId17"/>
    <p:sldId id="400" r:id="rId18"/>
    <p:sldId id="401" r:id="rId19"/>
    <p:sldId id="1742" r:id="rId20"/>
    <p:sldId id="308" r:id="rId21"/>
    <p:sldId id="1737" r:id="rId22"/>
    <p:sldId id="300" r:id="rId23"/>
    <p:sldId id="349" r:id="rId24"/>
    <p:sldId id="318" r:id="rId25"/>
    <p:sldId id="467" r:id="rId26"/>
    <p:sldId id="704" r:id="rId27"/>
    <p:sldId id="614" r:id="rId28"/>
    <p:sldId id="729" r:id="rId29"/>
    <p:sldId id="285" r:id="rId30"/>
    <p:sldId id="733" r:id="rId31"/>
    <p:sldId id="1743" r:id="rId32"/>
    <p:sldId id="634" r:id="rId33"/>
    <p:sldId id="301" r:id="rId34"/>
    <p:sldId id="604" r:id="rId35"/>
    <p:sldId id="502" r:id="rId36"/>
    <p:sldId id="584" r:id="rId37"/>
    <p:sldId id="730" r:id="rId38"/>
    <p:sldId id="1741" r:id="rId39"/>
    <p:sldId id="615" r:id="rId40"/>
    <p:sldId id="629"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191B4EC-3F2A-4216-8C87-1F3A09E936C1}" name="Torres-Peña, Yaslin (WSAC)" initials="TPY(" userId="S::YaslinTP@wsac.wa.gov::2ec31451-dbcf-4b17-ab25-d4bdd0f83b4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ED620B-8148-4C32-BF78-B60BEF65E548}" v="57" dt="2023-08-29T18:25:55.405"/>
    <p1510:client id="{DD37060B-303C-4E4E-AF77-9046FDCC64DC}" v="784" dt="2023-08-29T18:35:19.01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microsoft.com/office/2016/11/relationships/changesInfo" Target="changesInfos/changesInfo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rres-Peña, Yaslin (WSAC)" userId="2ec31451-dbcf-4b17-ab25-d4bdd0f83b42" providerId="ADAL" clId="{7D9F5A76-911C-4B64-96EF-B7D1D26B8019}"/>
    <pc:docChg chg="modSld">
      <pc:chgData name="Torres-Peña, Yaslin (WSAC)" userId="2ec31451-dbcf-4b17-ab25-d4bdd0f83b42" providerId="ADAL" clId="{7D9F5A76-911C-4B64-96EF-B7D1D26B8019}" dt="2023-07-17T21:51:30.012" v="23"/>
      <pc:docMkLst>
        <pc:docMk/>
      </pc:docMkLst>
      <pc:sldChg chg="addCm modCm">
        <pc:chgData name="Torres-Peña, Yaslin (WSAC)" userId="2ec31451-dbcf-4b17-ab25-d4bdd0f83b42" providerId="ADAL" clId="{7D9F5A76-911C-4B64-96EF-B7D1D26B8019}" dt="2023-07-17T21:51:30.012" v="23"/>
        <pc:sldMkLst>
          <pc:docMk/>
          <pc:sldMk cId="4006985104" sldId="270"/>
        </pc:sldMkLst>
      </pc:sldChg>
      <pc:sldChg chg="addCm">
        <pc:chgData name="Torres-Peña, Yaslin (WSAC)" userId="2ec31451-dbcf-4b17-ab25-d4bdd0f83b42" providerId="ADAL" clId="{7D9F5A76-911C-4B64-96EF-B7D1D26B8019}" dt="2023-07-17T21:26:23.987" v="18"/>
        <pc:sldMkLst>
          <pc:docMk/>
          <pc:sldMk cId="24141306" sldId="409"/>
        </pc:sldMkLst>
      </pc:sldChg>
      <pc:sldChg chg="addCm">
        <pc:chgData name="Torres-Peña, Yaslin (WSAC)" userId="2ec31451-dbcf-4b17-ab25-d4bdd0f83b42" providerId="ADAL" clId="{7D9F5A76-911C-4B64-96EF-B7D1D26B8019}" dt="2023-07-17T21:27:29.289" v="19"/>
        <pc:sldMkLst>
          <pc:docMk/>
          <pc:sldMk cId="1347672807" sldId="634"/>
        </pc:sldMkLst>
      </pc:sldChg>
      <pc:sldChg chg="addCm">
        <pc:chgData name="Torres-Peña, Yaslin (WSAC)" userId="2ec31451-dbcf-4b17-ab25-d4bdd0f83b42" providerId="ADAL" clId="{7D9F5A76-911C-4B64-96EF-B7D1D26B8019}" dt="2023-07-17T21:30:32.653" v="20"/>
        <pc:sldMkLst>
          <pc:docMk/>
          <pc:sldMk cId="953452538" sldId="704"/>
        </pc:sldMkLst>
      </pc:sldChg>
      <pc:sldChg chg="modSp mod">
        <pc:chgData name="Torres-Peña, Yaslin (WSAC)" userId="2ec31451-dbcf-4b17-ab25-d4bdd0f83b42" providerId="ADAL" clId="{7D9F5A76-911C-4B64-96EF-B7D1D26B8019}" dt="2023-07-17T21:16:20.779" v="17" actId="20577"/>
        <pc:sldMkLst>
          <pc:docMk/>
          <pc:sldMk cId="298345211" sldId="1736"/>
        </pc:sldMkLst>
        <pc:graphicFrameChg chg="modGraphic">
          <ac:chgData name="Torres-Peña, Yaslin (WSAC)" userId="2ec31451-dbcf-4b17-ab25-d4bdd0f83b42" providerId="ADAL" clId="{7D9F5A76-911C-4B64-96EF-B7D1D26B8019}" dt="2023-07-17T21:16:20.779" v="17" actId="20577"/>
          <ac:graphicFrameMkLst>
            <pc:docMk/>
            <pc:sldMk cId="298345211" sldId="1736"/>
            <ac:graphicFrameMk id="5" creationId="{BB440BCC-5139-488C-BBF4-1333D7958AA9}"/>
          </ac:graphicFrameMkLst>
        </pc:graphicFrameChg>
      </pc:sldChg>
    </pc:docChg>
  </pc:docChgLst>
  <pc:docChgLst>
    <pc:chgData name="Torres-Peña, Yaslin (WSAC)" userId="2ec31451-dbcf-4b17-ab25-d4bdd0f83b42" providerId="ADAL" clId="{DD37060B-303C-4E4E-AF77-9046FDCC64DC}"/>
    <pc:docChg chg="undo custSel delSld modSld sldOrd">
      <pc:chgData name="Torres-Peña, Yaslin (WSAC)" userId="2ec31451-dbcf-4b17-ab25-d4bdd0f83b42" providerId="ADAL" clId="{DD37060B-303C-4E4E-AF77-9046FDCC64DC}" dt="2023-08-29T18:34:40.429" v="773"/>
      <pc:docMkLst>
        <pc:docMk/>
      </pc:docMkLst>
      <pc:sldChg chg="delCm">
        <pc:chgData name="Torres-Peña, Yaslin (WSAC)" userId="2ec31451-dbcf-4b17-ab25-d4bdd0f83b42" providerId="ADAL" clId="{DD37060B-303C-4E4E-AF77-9046FDCC64DC}" dt="2023-08-29T18:34:40.429" v="773"/>
        <pc:sldMkLst>
          <pc:docMk/>
          <pc:sldMk cId="4006985104" sldId="270"/>
        </pc:sldMkLst>
      </pc:sldChg>
      <pc:sldChg chg="del">
        <pc:chgData name="Torres-Peña, Yaslin (WSAC)" userId="2ec31451-dbcf-4b17-ab25-d4bdd0f83b42" providerId="ADAL" clId="{DD37060B-303C-4E4E-AF77-9046FDCC64DC}" dt="2023-08-10T23:29:08.188" v="112" actId="2696"/>
        <pc:sldMkLst>
          <pc:docMk/>
          <pc:sldMk cId="1967957554" sldId="277"/>
        </pc:sldMkLst>
      </pc:sldChg>
      <pc:sldChg chg="modSp mod modNotesTx">
        <pc:chgData name="Torres-Peña, Yaslin (WSAC)" userId="2ec31451-dbcf-4b17-ab25-d4bdd0f83b42" providerId="ADAL" clId="{DD37060B-303C-4E4E-AF77-9046FDCC64DC}" dt="2023-08-29T18:01:25.759" v="405" actId="20577"/>
        <pc:sldMkLst>
          <pc:docMk/>
          <pc:sldMk cId="2943564420" sldId="285"/>
        </pc:sldMkLst>
        <pc:spChg chg="mod">
          <ac:chgData name="Torres-Peña, Yaslin (WSAC)" userId="2ec31451-dbcf-4b17-ab25-d4bdd0f83b42" providerId="ADAL" clId="{DD37060B-303C-4E4E-AF77-9046FDCC64DC}" dt="2023-08-29T18:01:25.759" v="405" actId="20577"/>
          <ac:spMkLst>
            <pc:docMk/>
            <pc:sldMk cId="2943564420" sldId="285"/>
            <ac:spMk id="6" creationId="{E45902AD-1134-4B8A-A38B-6E09B70E6227}"/>
          </ac:spMkLst>
        </pc:spChg>
      </pc:sldChg>
      <pc:sldChg chg="modSp mod">
        <pc:chgData name="Torres-Peña, Yaslin (WSAC)" userId="2ec31451-dbcf-4b17-ab25-d4bdd0f83b42" providerId="ADAL" clId="{DD37060B-303C-4E4E-AF77-9046FDCC64DC}" dt="2023-08-10T23:08:20.813" v="61" actId="20577"/>
        <pc:sldMkLst>
          <pc:docMk/>
          <pc:sldMk cId="3099203332" sldId="299"/>
        </pc:sldMkLst>
        <pc:spChg chg="mod">
          <ac:chgData name="Torres-Peña, Yaslin (WSAC)" userId="2ec31451-dbcf-4b17-ab25-d4bdd0f83b42" providerId="ADAL" clId="{DD37060B-303C-4E4E-AF77-9046FDCC64DC}" dt="2023-08-10T23:08:20.813" v="61" actId="20577"/>
          <ac:spMkLst>
            <pc:docMk/>
            <pc:sldMk cId="3099203332" sldId="299"/>
            <ac:spMk id="2" creationId="{00000000-0000-0000-0000-000000000000}"/>
          </ac:spMkLst>
        </pc:spChg>
      </pc:sldChg>
      <pc:sldChg chg="modNotesTx">
        <pc:chgData name="Torres-Peña, Yaslin (WSAC)" userId="2ec31451-dbcf-4b17-ab25-d4bdd0f83b42" providerId="ADAL" clId="{DD37060B-303C-4E4E-AF77-9046FDCC64DC}" dt="2023-08-29T17:54:22.605" v="336" actId="20577"/>
        <pc:sldMkLst>
          <pc:docMk/>
          <pc:sldMk cId="671143814" sldId="300"/>
        </pc:sldMkLst>
      </pc:sldChg>
      <pc:sldChg chg="modSp mod modNotesTx">
        <pc:chgData name="Torres-Peña, Yaslin (WSAC)" userId="2ec31451-dbcf-4b17-ab25-d4bdd0f83b42" providerId="ADAL" clId="{DD37060B-303C-4E4E-AF77-9046FDCC64DC}" dt="2023-08-29T18:29:15.177" v="769" actId="20577"/>
        <pc:sldMkLst>
          <pc:docMk/>
          <pc:sldMk cId="3202497913" sldId="301"/>
        </pc:sldMkLst>
        <pc:spChg chg="mod">
          <ac:chgData name="Torres-Peña, Yaslin (WSAC)" userId="2ec31451-dbcf-4b17-ab25-d4bdd0f83b42" providerId="ADAL" clId="{DD37060B-303C-4E4E-AF77-9046FDCC64DC}" dt="2023-08-29T18:18:31.693" v="699" actId="20577"/>
          <ac:spMkLst>
            <pc:docMk/>
            <pc:sldMk cId="3202497913" sldId="301"/>
            <ac:spMk id="10" creationId="{00000000-0000-0000-0000-000000000000}"/>
          </ac:spMkLst>
        </pc:spChg>
        <pc:graphicFrameChg chg="mod">
          <ac:chgData name="Torres-Peña, Yaslin (WSAC)" userId="2ec31451-dbcf-4b17-ab25-d4bdd0f83b42" providerId="ADAL" clId="{DD37060B-303C-4E4E-AF77-9046FDCC64DC}" dt="2023-08-29T18:29:15.177" v="769" actId="20577"/>
          <ac:graphicFrameMkLst>
            <pc:docMk/>
            <pc:sldMk cId="3202497913" sldId="301"/>
            <ac:graphicFrameMk id="2" creationId="{615B4F7E-243B-5257-D9CF-655759582282}"/>
          </ac:graphicFrameMkLst>
        </pc:graphicFrameChg>
      </pc:sldChg>
      <pc:sldChg chg="modSp mod">
        <pc:chgData name="Torres-Peña, Yaslin (WSAC)" userId="2ec31451-dbcf-4b17-ab25-d4bdd0f83b42" providerId="ADAL" clId="{DD37060B-303C-4E4E-AF77-9046FDCC64DC}" dt="2023-08-10T23:21:09.202" v="90" actId="20577"/>
        <pc:sldMkLst>
          <pc:docMk/>
          <pc:sldMk cId="3885688594" sldId="308"/>
        </pc:sldMkLst>
        <pc:spChg chg="mod">
          <ac:chgData name="Torres-Peña, Yaslin (WSAC)" userId="2ec31451-dbcf-4b17-ab25-d4bdd0f83b42" providerId="ADAL" clId="{DD37060B-303C-4E4E-AF77-9046FDCC64DC}" dt="2023-08-10T23:21:09.202" v="90" actId="20577"/>
          <ac:spMkLst>
            <pc:docMk/>
            <pc:sldMk cId="3885688594" sldId="308"/>
            <ac:spMk id="4" creationId="{FB97D09A-E760-DA26-1E11-81385107E0C6}"/>
          </ac:spMkLst>
        </pc:spChg>
        <pc:graphicFrameChg chg="mod">
          <ac:chgData name="Torres-Peña, Yaslin (WSAC)" userId="2ec31451-dbcf-4b17-ab25-d4bdd0f83b42" providerId="ADAL" clId="{DD37060B-303C-4E4E-AF77-9046FDCC64DC}" dt="2023-08-10T23:17:42.215" v="68" actId="20577"/>
          <ac:graphicFrameMkLst>
            <pc:docMk/>
            <pc:sldMk cId="3885688594" sldId="308"/>
            <ac:graphicFrameMk id="3" creationId="{00000000-0000-0000-0000-000000000000}"/>
          </ac:graphicFrameMkLst>
        </pc:graphicFrameChg>
      </pc:sldChg>
      <pc:sldChg chg="modSp mod addCm delCm">
        <pc:chgData name="Torres-Peña, Yaslin (WSAC)" userId="2ec31451-dbcf-4b17-ab25-d4bdd0f83b42" providerId="ADAL" clId="{DD37060B-303C-4E4E-AF77-9046FDCC64DC}" dt="2023-08-29T18:31:20.768" v="770"/>
        <pc:sldMkLst>
          <pc:docMk/>
          <pc:sldMk cId="2230918615" sldId="321"/>
        </pc:sldMkLst>
        <pc:spChg chg="mod">
          <ac:chgData name="Torres-Peña, Yaslin (WSAC)" userId="2ec31451-dbcf-4b17-ab25-d4bdd0f83b42" providerId="ADAL" clId="{DD37060B-303C-4E4E-AF77-9046FDCC64DC}" dt="2023-08-10T23:04:39.191" v="31" actId="20577"/>
          <ac:spMkLst>
            <pc:docMk/>
            <pc:sldMk cId="2230918615" sldId="321"/>
            <ac:spMk id="3" creationId="{00000000-0000-0000-0000-000000000000}"/>
          </ac:spMkLst>
        </pc:spChg>
      </pc:sldChg>
      <pc:sldChg chg="delSp modSp mod">
        <pc:chgData name="Torres-Peña, Yaslin (WSAC)" userId="2ec31451-dbcf-4b17-ab25-d4bdd0f83b42" providerId="ADAL" clId="{DD37060B-303C-4E4E-AF77-9046FDCC64DC}" dt="2023-08-10T23:26:57.598" v="110" actId="20577"/>
        <pc:sldMkLst>
          <pc:docMk/>
          <pc:sldMk cId="24141306" sldId="409"/>
        </pc:sldMkLst>
        <pc:spChg chg="mod">
          <ac:chgData name="Torres-Peña, Yaslin (WSAC)" userId="2ec31451-dbcf-4b17-ab25-d4bdd0f83b42" providerId="ADAL" clId="{DD37060B-303C-4E4E-AF77-9046FDCC64DC}" dt="2023-08-10T23:26:57.598" v="110" actId="20577"/>
          <ac:spMkLst>
            <pc:docMk/>
            <pc:sldMk cId="24141306" sldId="409"/>
            <ac:spMk id="3" creationId="{1F162C31-7CA0-4646-944E-23FB5C903319}"/>
          </ac:spMkLst>
        </pc:spChg>
        <pc:picChg chg="del">
          <ac:chgData name="Torres-Peña, Yaslin (WSAC)" userId="2ec31451-dbcf-4b17-ab25-d4bdd0f83b42" providerId="ADAL" clId="{DD37060B-303C-4E4E-AF77-9046FDCC64DC}" dt="2023-08-10T23:26:53.960" v="108" actId="478"/>
          <ac:picMkLst>
            <pc:docMk/>
            <pc:sldMk cId="24141306" sldId="409"/>
            <ac:picMk id="8" creationId="{06D0EA55-CE4B-F9E4-838C-39F9F8D35FEF}"/>
          </ac:picMkLst>
        </pc:picChg>
      </pc:sldChg>
      <pc:sldChg chg="modNotesTx">
        <pc:chgData name="Torres-Peña, Yaslin (WSAC)" userId="2ec31451-dbcf-4b17-ab25-d4bdd0f83b42" providerId="ADAL" clId="{DD37060B-303C-4E4E-AF77-9046FDCC64DC}" dt="2023-08-29T18:21:52.147" v="738" actId="20577"/>
        <pc:sldMkLst>
          <pc:docMk/>
          <pc:sldMk cId="1244372053" sldId="502"/>
        </pc:sldMkLst>
      </pc:sldChg>
      <pc:sldChg chg="modNotesTx">
        <pc:chgData name="Torres-Peña, Yaslin (WSAC)" userId="2ec31451-dbcf-4b17-ab25-d4bdd0f83b42" providerId="ADAL" clId="{DD37060B-303C-4E4E-AF77-9046FDCC64DC}" dt="2023-08-29T18:24:59.270" v="742"/>
        <pc:sldMkLst>
          <pc:docMk/>
          <pc:sldMk cId="767896883" sldId="584"/>
        </pc:sldMkLst>
      </pc:sldChg>
      <pc:sldChg chg="del">
        <pc:chgData name="Torres-Peña, Yaslin (WSAC)" userId="2ec31451-dbcf-4b17-ab25-d4bdd0f83b42" providerId="ADAL" clId="{DD37060B-303C-4E4E-AF77-9046FDCC64DC}" dt="2023-08-10T23:27:17.779" v="111" actId="2696"/>
        <pc:sldMkLst>
          <pc:docMk/>
          <pc:sldMk cId="2478918423" sldId="588"/>
        </pc:sldMkLst>
      </pc:sldChg>
      <pc:sldChg chg="modNotesTx">
        <pc:chgData name="Torres-Peña, Yaslin (WSAC)" userId="2ec31451-dbcf-4b17-ab25-d4bdd0f83b42" providerId="ADAL" clId="{DD37060B-303C-4E4E-AF77-9046FDCC64DC}" dt="2023-08-29T18:21:26.344" v="737" actId="20577"/>
        <pc:sldMkLst>
          <pc:docMk/>
          <pc:sldMk cId="1517140496" sldId="604"/>
        </pc:sldMkLst>
      </pc:sldChg>
      <pc:sldChg chg="modSp">
        <pc:chgData name="Torres-Peña, Yaslin (WSAC)" userId="2ec31451-dbcf-4b17-ab25-d4bdd0f83b42" providerId="ADAL" clId="{DD37060B-303C-4E4E-AF77-9046FDCC64DC}" dt="2023-08-10T23:09:51.786" v="65"/>
        <pc:sldMkLst>
          <pc:docMk/>
          <pc:sldMk cId="337045256" sldId="621"/>
        </pc:sldMkLst>
        <pc:graphicFrameChg chg="mod">
          <ac:chgData name="Torres-Peña, Yaslin (WSAC)" userId="2ec31451-dbcf-4b17-ab25-d4bdd0f83b42" providerId="ADAL" clId="{DD37060B-303C-4E4E-AF77-9046FDCC64DC}" dt="2023-08-10T23:09:51.786" v="65"/>
          <ac:graphicFrameMkLst>
            <pc:docMk/>
            <pc:sldMk cId="337045256" sldId="621"/>
            <ac:graphicFrameMk id="4" creationId="{B7F2EBC0-DCF5-42BD-86C2-7D7DA46CC480}"/>
          </ac:graphicFrameMkLst>
        </pc:graphicFrameChg>
      </pc:sldChg>
      <pc:sldChg chg="modSp delCm modNotesTx">
        <pc:chgData name="Torres-Peña, Yaslin (WSAC)" userId="2ec31451-dbcf-4b17-ab25-d4bdd0f83b42" providerId="ADAL" clId="{DD37060B-303C-4E4E-AF77-9046FDCC64DC}" dt="2023-08-29T18:31:51.855" v="772"/>
        <pc:sldMkLst>
          <pc:docMk/>
          <pc:sldMk cId="1347672807" sldId="634"/>
        </pc:sldMkLst>
        <pc:graphicFrameChg chg="mod">
          <ac:chgData name="Torres-Peña, Yaslin (WSAC)" userId="2ec31451-dbcf-4b17-ab25-d4bdd0f83b42" providerId="ADAL" clId="{DD37060B-303C-4E4E-AF77-9046FDCC64DC}" dt="2023-08-29T18:14:55.683" v="632" actId="20577"/>
          <ac:graphicFrameMkLst>
            <pc:docMk/>
            <pc:sldMk cId="1347672807" sldId="634"/>
            <ac:graphicFrameMk id="4" creationId="{00BFE071-297F-4C46-AD83-E2231DCDECDA}"/>
          </ac:graphicFrameMkLst>
        </pc:graphicFrameChg>
      </pc:sldChg>
      <pc:sldChg chg="delCm modNotesTx">
        <pc:chgData name="Torres-Peña, Yaslin (WSAC)" userId="2ec31451-dbcf-4b17-ab25-d4bdd0f83b42" providerId="ADAL" clId="{DD37060B-303C-4E4E-AF77-9046FDCC64DC}" dt="2023-08-29T18:31:42.675" v="771"/>
        <pc:sldMkLst>
          <pc:docMk/>
          <pc:sldMk cId="953452538" sldId="704"/>
        </pc:sldMkLst>
      </pc:sldChg>
      <pc:sldChg chg="modNotesTx">
        <pc:chgData name="Torres-Peña, Yaslin (WSAC)" userId="2ec31451-dbcf-4b17-ab25-d4bdd0f83b42" providerId="ADAL" clId="{DD37060B-303C-4E4E-AF77-9046FDCC64DC}" dt="2023-08-29T18:25:40.536" v="745" actId="20577"/>
        <pc:sldMkLst>
          <pc:docMk/>
          <pc:sldMk cId="2921371254" sldId="730"/>
        </pc:sldMkLst>
      </pc:sldChg>
      <pc:sldChg chg="modSp modNotesTx">
        <pc:chgData name="Torres-Peña, Yaslin (WSAC)" userId="2ec31451-dbcf-4b17-ab25-d4bdd0f83b42" providerId="ADAL" clId="{DD37060B-303C-4E4E-AF77-9046FDCC64DC}" dt="2023-08-29T18:10:51.904" v="557"/>
        <pc:sldMkLst>
          <pc:docMk/>
          <pc:sldMk cId="335273218" sldId="733"/>
        </pc:sldMkLst>
        <pc:graphicFrameChg chg="mod">
          <ac:chgData name="Torres-Peña, Yaslin (WSAC)" userId="2ec31451-dbcf-4b17-ab25-d4bdd0f83b42" providerId="ADAL" clId="{DD37060B-303C-4E4E-AF77-9046FDCC64DC}" dt="2023-08-29T18:10:51.904" v="557"/>
          <ac:graphicFrameMkLst>
            <pc:docMk/>
            <pc:sldMk cId="335273218" sldId="733"/>
            <ac:graphicFrameMk id="4" creationId="{BAD2A9A8-C598-42A8-A760-7997EA065CE5}"/>
          </ac:graphicFrameMkLst>
        </pc:graphicFrameChg>
      </pc:sldChg>
      <pc:sldChg chg="ord">
        <pc:chgData name="Torres-Peña, Yaslin (WSAC)" userId="2ec31451-dbcf-4b17-ab25-d4bdd0f83b42" providerId="ADAL" clId="{DD37060B-303C-4E4E-AF77-9046FDCC64DC}" dt="2023-08-29T17:52:42.219" v="335"/>
        <pc:sldMkLst>
          <pc:docMk/>
          <pc:sldMk cId="133190713" sldId="1737"/>
        </pc:sldMkLst>
      </pc:sldChg>
      <pc:sldChg chg="modNotesTx">
        <pc:chgData name="Torres-Peña, Yaslin (WSAC)" userId="2ec31451-dbcf-4b17-ab25-d4bdd0f83b42" providerId="ADAL" clId="{DD37060B-303C-4E4E-AF77-9046FDCC64DC}" dt="2023-08-29T17:51:19.940" v="333" actId="20577"/>
        <pc:sldMkLst>
          <pc:docMk/>
          <pc:sldMk cId="1850282813" sldId="1742"/>
        </pc:sldMkLst>
      </pc:sldChg>
      <pc:sldChg chg="modNotesTx">
        <pc:chgData name="Torres-Peña, Yaslin (WSAC)" userId="2ec31451-dbcf-4b17-ab25-d4bdd0f83b42" providerId="ADAL" clId="{DD37060B-303C-4E4E-AF77-9046FDCC64DC}" dt="2023-08-29T18:13:27.228" v="609" actId="20577"/>
        <pc:sldMkLst>
          <pc:docMk/>
          <pc:sldMk cId="859092497" sldId="1743"/>
        </pc:sldMkLst>
      </pc:sldChg>
    </pc:docChg>
  </pc:docChgLst>
  <pc:docChgLst>
    <pc:chgData name="Winstead, Christina (WSAC)" userId="9bc475b0-4b84-4753-a1a9-2b7187fd9332" providerId="ADAL" clId="{82ED620B-8148-4C32-BF78-B60BEF65E548}"/>
    <pc:docChg chg="custSel addSld delSld modSld">
      <pc:chgData name="Winstead, Christina (WSAC)" userId="9bc475b0-4b84-4753-a1a9-2b7187fd9332" providerId="ADAL" clId="{82ED620B-8148-4C32-BF78-B60BEF65E548}" dt="2023-08-29T18:25:55.405" v="55" actId="47"/>
      <pc:docMkLst>
        <pc:docMk/>
      </pc:docMkLst>
      <pc:sldChg chg="add">
        <pc:chgData name="Winstead, Christina (WSAC)" userId="9bc475b0-4b84-4753-a1a9-2b7187fd9332" providerId="ADAL" clId="{82ED620B-8148-4C32-BF78-B60BEF65E548}" dt="2023-08-29T18:15:26.908" v="46"/>
        <pc:sldMkLst>
          <pc:docMk/>
          <pc:sldMk cId="3202497913" sldId="301"/>
        </pc:sldMkLst>
      </pc:sldChg>
      <pc:sldChg chg="modSp mod">
        <pc:chgData name="Winstead, Christina (WSAC)" userId="9bc475b0-4b84-4753-a1a9-2b7187fd9332" providerId="ADAL" clId="{82ED620B-8148-4C32-BF78-B60BEF65E548}" dt="2023-08-29T17:39:48.469" v="0"/>
        <pc:sldMkLst>
          <pc:docMk/>
          <pc:sldMk cId="1903690931" sldId="352"/>
        </pc:sldMkLst>
        <pc:spChg chg="mod">
          <ac:chgData name="Winstead, Christina (WSAC)" userId="9bc475b0-4b84-4753-a1a9-2b7187fd9332" providerId="ADAL" clId="{82ED620B-8148-4C32-BF78-B60BEF65E548}" dt="2023-08-29T17:39:48.469" v="0"/>
          <ac:spMkLst>
            <pc:docMk/>
            <pc:sldMk cId="1903690931" sldId="352"/>
            <ac:spMk id="2" creationId="{00000000-0000-0000-0000-000000000000}"/>
          </ac:spMkLst>
        </pc:spChg>
      </pc:sldChg>
      <pc:sldChg chg="addSp delSp modSp mod">
        <pc:chgData name="Winstead, Christina (WSAC)" userId="9bc475b0-4b84-4753-a1a9-2b7187fd9332" providerId="ADAL" clId="{82ED620B-8148-4C32-BF78-B60BEF65E548}" dt="2023-08-29T17:42:18.230" v="11"/>
        <pc:sldMkLst>
          <pc:docMk/>
          <pc:sldMk cId="1882977710" sldId="400"/>
        </pc:sldMkLst>
        <pc:picChg chg="add mod">
          <ac:chgData name="Winstead, Christina (WSAC)" userId="9bc475b0-4b84-4753-a1a9-2b7187fd9332" providerId="ADAL" clId="{82ED620B-8148-4C32-BF78-B60BEF65E548}" dt="2023-08-29T17:42:18.230" v="11"/>
          <ac:picMkLst>
            <pc:docMk/>
            <pc:sldMk cId="1882977710" sldId="400"/>
            <ac:picMk id="2" creationId="{6C61AB74-047D-AFCE-75A3-FD369B2E656B}"/>
          </ac:picMkLst>
        </pc:picChg>
        <pc:picChg chg="del">
          <ac:chgData name="Winstead, Christina (WSAC)" userId="9bc475b0-4b84-4753-a1a9-2b7187fd9332" providerId="ADAL" clId="{82ED620B-8148-4C32-BF78-B60BEF65E548}" dt="2023-08-29T17:42:18.032" v="10" actId="478"/>
          <ac:picMkLst>
            <pc:docMk/>
            <pc:sldMk cId="1882977710" sldId="400"/>
            <ac:picMk id="8" creationId="{00000000-0000-0000-0000-000000000000}"/>
          </ac:picMkLst>
        </pc:picChg>
      </pc:sldChg>
      <pc:sldChg chg="modSp">
        <pc:chgData name="Winstead, Christina (WSAC)" userId="9bc475b0-4b84-4753-a1a9-2b7187fd9332" providerId="ADAL" clId="{82ED620B-8148-4C32-BF78-B60BEF65E548}" dt="2023-08-29T17:44:13.846" v="29" actId="20577"/>
        <pc:sldMkLst>
          <pc:docMk/>
          <pc:sldMk cId="1951161887" sldId="401"/>
        </pc:sldMkLst>
        <pc:graphicFrameChg chg="mod">
          <ac:chgData name="Winstead, Christina (WSAC)" userId="9bc475b0-4b84-4753-a1a9-2b7187fd9332" providerId="ADAL" clId="{82ED620B-8148-4C32-BF78-B60BEF65E548}" dt="2023-08-29T17:44:13.846" v="29" actId="20577"/>
          <ac:graphicFrameMkLst>
            <pc:docMk/>
            <pc:sldMk cId="1951161887" sldId="401"/>
            <ac:graphicFrameMk id="4" creationId="{00000000-0000-0000-0000-000000000000}"/>
          </ac:graphicFrameMkLst>
        </pc:graphicFrameChg>
      </pc:sldChg>
      <pc:sldChg chg="del">
        <pc:chgData name="Winstead, Christina (WSAC)" userId="9bc475b0-4b84-4753-a1a9-2b7187fd9332" providerId="ADAL" clId="{82ED620B-8148-4C32-BF78-B60BEF65E548}" dt="2023-08-29T18:15:30.884" v="47" actId="47"/>
        <pc:sldMkLst>
          <pc:docMk/>
          <pc:sldMk cId="24141306" sldId="409"/>
        </pc:sldMkLst>
      </pc:sldChg>
      <pc:sldChg chg="del">
        <pc:chgData name="Winstead, Christina (WSAC)" userId="9bc475b0-4b84-4753-a1a9-2b7187fd9332" providerId="ADAL" clId="{82ED620B-8148-4C32-BF78-B60BEF65E548}" dt="2023-08-29T18:25:55.405" v="55" actId="47"/>
        <pc:sldMkLst>
          <pc:docMk/>
          <pc:sldMk cId="3102474822" sldId="443"/>
        </pc:sldMkLst>
      </pc:sldChg>
      <pc:sldChg chg="modSp">
        <pc:chgData name="Winstead, Christina (WSAC)" userId="9bc475b0-4b84-4753-a1a9-2b7187fd9332" providerId="ADAL" clId="{82ED620B-8148-4C32-BF78-B60BEF65E548}" dt="2023-08-29T18:22:09.952" v="49" actId="20577"/>
        <pc:sldMkLst>
          <pc:docMk/>
          <pc:sldMk cId="1244372053" sldId="502"/>
        </pc:sldMkLst>
        <pc:graphicFrameChg chg="mod">
          <ac:chgData name="Winstead, Christina (WSAC)" userId="9bc475b0-4b84-4753-a1a9-2b7187fd9332" providerId="ADAL" clId="{82ED620B-8148-4C32-BF78-B60BEF65E548}" dt="2023-08-29T18:22:09.952" v="49" actId="20577"/>
          <ac:graphicFrameMkLst>
            <pc:docMk/>
            <pc:sldMk cId="1244372053" sldId="502"/>
            <ac:graphicFrameMk id="6" creationId="{03280031-5853-47D2-82B1-1A0C592F316E}"/>
          </ac:graphicFrameMkLst>
        </pc:graphicFrameChg>
      </pc:sldChg>
      <pc:sldChg chg="addSp delSp modSp mod modNotesTx">
        <pc:chgData name="Winstead, Christina (WSAC)" userId="9bc475b0-4b84-4753-a1a9-2b7187fd9332" providerId="ADAL" clId="{82ED620B-8148-4C32-BF78-B60BEF65E548}" dt="2023-08-29T18:24:17.731" v="54"/>
        <pc:sldMkLst>
          <pc:docMk/>
          <pc:sldMk cId="767896883" sldId="584"/>
        </pc:sldMkLst>
        <pc:picChg chg="add mod">
          <ac:chgData name="Winstead, Christina (WSAC)" userId="9bc475b0-4b84-4753-a1a9-2b7187fd9332" providerId="ADAL" clId="{82ED620B-8148-4C32-BF78-B60BEF65E548}" dt="2023-08-29T18:23:26.761" v="53"/>
          <ac:picMkLst>
            <pc:docMk/>
            <pc:sldMk cId="767896883" sldId="584"/>
            <ac:picMk id="3" creationId="{3944E1C1-ABBE-D62B-3F4C-47FD78DACD54}"/>
          </ac:picMkLst>
        </pc:picChg>
        <pc:picChg chg="del mod">
          <ac:chgData name="Winstead, Christina (WSAC)" userId="9bc475b0-4b84-4753-a1a9-2b7187fd9332" providerId="ADAL" clId="{82ED620B-8148-4C32-BF78-B60BEF65E548}" dt="2023-08-29T18:23:26.340" v="52" actId="478"/>
          <ac:picMkLst>
            <pc:docMk/>
            <pc:sldMk cId="767896883" sldId="584"/>
            <ac:picMk id="4" creationId="{3D3346F1-B143-4BEB-A4BB-AF2B9A6D4115}"/>
          </ac:picMkLst>
        </pc:picChg>
        <pc:picChg chg="del">
          <ac:chgData name="Winstead, Christina (WSAC)" userId="9bc475b0-4b84-4753-a1a9-2b7187fd9332" providerId="ADAL" clId="{82ED620B-8148-4C32-BF78-B60BEF65E548}" dt="2023-08-29T18:23:24.809" v="50" actId="478"/>
          <ac:picMkLst>
            <pc:docMk/>
            <pc:sldMk cId="767896883" sldId="584"/>
            <ac:picMk id="2050" creationId="{EAC297F4-C0EC-4483-84F3-9499E9BE3BC9}"/>
          </ac:picMkLst>
        </pc:picChg>
      </pc:sldChg>
      <pc:sldChg chg="modNotesTx">
        <pc:chgData name="Winstead, Christina (WSAC)" userId="9bc475b0-4b84-4753-a1a9-2b7187fd9332" providerId="ADAL" clId="{82ED620B-8148-4C32-BF78-B60BEF65E548}" dt="2023-08-29T18:21:08.338" v="48" actId="6549"/>
        <pc:sldMkLst>
          <pc:docMk/>
          <pc:sldMk cId="1517140496" sldId="604"/>
        </pc:sldMkLst>
      </pc:sldChg>
      <pc:sldChg chg="modSp mod">
        <pc:chgData name="Winstead, Christina (WSAC)" userId="9bc475b0-4b84-4753-a1a9-2b7187fd9332" providerId="ADAL" clId="{82ED620B-8148-4C32-BF78-B60BEF65E548}" dt="2023-08-29T17:55:47.403" v="34" actId="1076"/>
        <pc:sldMkLst>
          <pc:docMk/>
          <pc:sldMk cId="953452538" sldId="704"/>
        </pc:sldMkLst>
        <pc:picChg chg="mod">
          <ac:chgData name="Winstead, Christina (WSAC)" userId="9bc475b0-4b84-4753-a1a9-2b7187fd9332" providerId="ADAL" clId="{82ED620B-8148-4C32-BF78-B60BEF65E548}" dt="2023-08-29T17:55:47.403" v="34" actId="1076"/>
          <ac:picMkLst>
            <pc:docMk/>
            <pc:sldMk cId="953452538" sldId="704"/>
            <ac:picMk id="8" creationId="{08FA67B2-8216-493A-9416-5ABA280C9709}"/>
          </ac:picMkLst>
        </pc:picChg>
        <pc:picChg chg="mod">
          <ac:chgData name="Winstead, Christina (WSAC)" userId="9bc475b0-4b84-4753-a1a9-2b7187fd9332" providerId="ADAL" clId="{82ED620B-8148-4C32-BF78-B60BEF65E548}" dt="2023-08-29T17:55:39.481" v="31" actId="14100"/>
          <ac:picMkLst>
            <pc:docMk/>
            <pc:sldMk cId="953452538" sldId="704"/>
            <ac:picMk id="10" creationId="{D573A7AB-A141-4276-8D17-F765BF179341}"/>
          </ac:picMkLst>
        </pc:picChg>
      </pc:sldChg>
      <pc:sldChg chg="modNotesTx">
        <pc:chgData name="Winstead, Christina (WSAC)" userId="9bc475b0-4b84-4753-a1a9-2b7187fd9332" providerId="ADAL" clId="{82ED620B-8148-4C32-BF78-B60BEF65E548}" dt="2023-08-29T17:41:01.365" v="8" actId="20577"/>
        <pc:sldMkLst>
          <pc:docMk/>
          <pc:sldMk cId="298345211" sldId="1736"/>
        </pc:sldMkLst>
      </pc:sldChg>
      <pc:sldChg chg="addSp delSp modSp mod">
        <pc:chgData name="Winstead, Christina (WSAC)" userId="9bc475b0-4b84-4753-a1a9-2b7187fd9332" providerId="ADAL" clId="{82ED620B-8148-4C32-BF78-B60BEF65E548}" dt="2023-08-29T18:12:59.527" v="45" actId="1076"/>
        <pc:sldMkLst>
          <pc:docMk/>
          <pc:sldMk cId="859092497" sldId="1743"/>
        </pc:sldMkLst>
        <pc:picChg chg="del">
          <ac:chgData name="Winstead, Christina (WSAC)" userId="9bc475b0-4b84-4753-a1a9-2b7187fd9332" providerId="ADAL" clId="{82ED620B-8148-4C32-BF78-B60BEF65E548}" dt="2023-08-29T18:12:30.003" v="35" actId="478"/>
          <ac:picMkLst>
            <pc:docMk/>
            <pc:sldMk cId="859092497" sldId="1743"/>
            <ac:picMk id="5" creationId="{3B31C8F6-C87E-447B-B67D-DA1A23D975F5}"/>
          </ac:picMkLst>
        </pc:picChg>
        <pc:picChg chg="add del">
          <ac:chgData name="Winstead, Christina (WSAC)" userId="9bc475b0-4b84-4753-a1a9-2b7187fd9332" providerId="ADAL" clId="{82ED620B-8148-4C32-BF78-B60BEF65E548}" dt="2023-08-29T18:12:31.834" v="37" actId="478"/>
          <ac:picMkLst>
            <pc:docMk/>
            <pc:sldMk cId="859092497" sldId="1743"/>
            <ac:picMk id="6" creationId="{42B517A2-B5F6-FC6C-04D8-4726DF335C7D}"/>
          </ac:picMkLst>
        </pc:picChg>
        <pc:picChg chg="add mod">
          <ac:chgData name="Winstead, Christina (WSAC)" userId="9bc475b0-4b84-4753-a1a9-2b7187fd9332" providerId="ADAL" clId="{82ED620B-8148-4C32-BF78-B60BEF65E548}" dt="2023-08-29T18:12:59.527" v="45" actId="1076"/>
          <ac:picMkLst>
            <pc:docMk/>
            <pc:sldMk cId="859092497" sldId="1743"/>
            <ac:picMk id="9" creationId="{C5B78A3F-BC87-22C7-26F6-6FE44161A243}"/>
          </ac:picMkLst>
        </pc:picChg>
      </pc:sldChg>
      <pc:sldChg chg="del">
        <pc:chgData name="Winstead, Christina (WSAC)" userId="9bc475b0-4b84-4753-a1a9-2b7187fd9332" providerId="ADAL" clId="{82ED620B-8148-4C32-BF78-B60BEF65E548}" dt="2023-08-29T17:41:35.788" v="9" actId="47"/>
        <pc:sldMkLst>
          <pc:docMk/>
          <pc:sldMk cId="3927231622" sldId="1744"/>
        </pc:sldMkLst>
      </pc:sldChg>
    </pc:docChg>
  </pc:docChgLst>
  <pc:docChgLst>
    <pc:chgData name="Winstead, Christina (WSAC)" userId="9bc475b0-4b84-4753-a1a9-2b7187fd9332" providerId="ADAL" clId="{17A47D50-DCFF-492E-B680-1C28FCF7AF5B}"/>
    <pc:docChg chg="undo custSel addSld modSld">
      <pc:chgData name="Winstead, Christina (WSAC)" userId="9bc475b0-4b84-4753-a1a9-2b7187fd9332" providerId="ADAL" clId="{17A47D50-DCFF-492E-B680-1C28FCF7AF5B}" dt="2023-08-10T23:20:58.033" v="53" actId="18131"/>
      <pc:docMkLst>
        <pc:docMk/>
      </pc:docMkLst>
      <pc:sldChg chg="modSp mod">
        <pc:chgData name="Winstead, Christina (WSAC)" userId="9bc475b0-4b84-4753-a1a9-2b7187fd9332" providerId="ADAL" clId="{17A47D50-DCFF-492E-B680-1C28FCF7AF5B}" dt="2023-08-10T23:09:41.721" v="33" actId="1076"/>
        <pc:sldMkLst>
          <pc:docMk/>
          <pc:sldMk cId="3099203332" sldId="299"/>
        </pc:sldMkLst>
        <pc:graphicFrameChg chg="mod">
          <ac:chgData name="Winstead, Christina (WSAC)" userId="9bc475b0-4b84-4753-a1a9-2b7187fd9332" providerId="ADAL" clId="{17A47D50-DCFF-492E-B680-1C28FCF7AF5B}" dt="2023-08-10T23:08:39.679" v="26" actId="14100"/>
          <ac:graphicFrameMkLst>
            <pc:docMk/>
            <pc:sldMk cId="3099203332" sldId="299"/>
            <ac:graphicFrameMk id="4" creationId="{00000000-0000-0000-0000-000000000000}"/>
          </ac:graphicFrameMkLst>
        </pc:graphicFrameChg>
        <pc:picChg chg="mod ord">
          <ac:chgData name="Winstead, Christina (WSAC)" userId="9bc475b0-4b84-4753-a1a9-2b7187fd9332" providerId="ADAL" clId="{17A47D50-DCFF-492E-B680-1C28FCF7AF5B}" dt="2023-08-10T23:09:41.721" v="33" actId="1076"/>
          <ac:picMkLst>
            <pc:docMk/>
            <pc:sldMk cId="3099203332" sldId="299"/>
            <ac:picMk id="3" creationId="{00000000-0000-0000-0000-000000000000}"/>
          </ac:picMkLst>
        </pc:picChg>
      </pc:sldChg>
      <pc:sldChg chg="addSp modSp mod">
        <pc:chgData name="Winstead, Christina (WSAC)" userId="9bc475b0-4b84-4753-a1a9-2b7187fd9332" providerId="ADAL" clId="{17A47D50-DCFF-492E-B680-1C28FCF7AF5B}" dt="2023-08-10T23:15:36.729" v="46" actId="1076"/>
        <pc:sldMkLst>
          <pc:docMk/>
          <pc:sldMk cId="3885688594" sldId="308"/>
        </pc:sldMkLst>
        <pc:spChg chg="add mod">
          <ac:chgData name="Winstead, Christina (WSAC)" userId="9bc475b0-4b84-4753-a1a9-2b7187fd9332" providerId="ADAL" clId="{17A47D50-DCFF-492E-B680-1C28FCF7AF5B}" dt="2023-08-10T23:15:36.729" v="46" actId="1076"/>
          <ac:spMkLst>
            <pc:docMk/>
            <pc:sldMk cId="3885688594" sldId="308"/>
            <ac:spMk id="4" creationId="{FB97D09A-E760-DA26-1E11-81385107E0C6}"/>
          </ac:spMkLst>
        </pc:spChg>
        <pc:picChg chg="mod">
          <ac:chgData name="Winstead, Christina (WSAC)" userId="9bc475b0-4b84-4753-a1a9-2b7187fd9332" providerId="ADAL" clId="{17A47D50-DCFF-492E-B680-1C28FCF7AF5B}" dt="2023-08-10T23:15:17.848" v="37" actId="1076"/>
          <ac:picMkLst>
            <pc:docMk/>
            <pc:sldMk cId="3885688594" sldId="308"/>
            <ac:picMk id="6" creationId="{00000000-0000-0000-0000-000000000000}"/>
          </ac:picMkLst>
        </pc:picChg>
      </pc:sldChg>
      <pc:sldChg chg="addSp delSp modSp mod">
        <pc:chgData name="Winstead, Christina (WSAC)" userId="9bc475b0-4b84-4753-a1a9-2b7187fd9332" providerId="ADAL" clId="{17A47D50-DCFF-492E-B680-1C28FCF7AF5B}" dt="2023-08-10T23:20:58.033" v="53" actId="18131"/>
        <pc:sldMkLst>
          <pc:docMk/>
          <pc:sldMk cId="156269512" sldId="318"/>
        </pc:sldMkLst>
        <pc:spChg chg="add del mod">
          <ac:chgData name="Winstead, Christina (WSAC)" userId="9bc475b0-4b84-4753-a1a9-2b7187fd9332" providerId="ADAL" clId="{17A47D50-DCFF-492E-B680-1C28FCF7AF5B}" dt="2023-08-10T23:20:43.680" v="51" actId="478"/>
          <ac:spMkLst>
            <pc:docMk/>
            <pc:sldMk cId="156269512" sldId="318"/>
            <ac:spMk id="2" creationId="{306B4B6A-268A-96E2-A7CF-D6E0D7C05157}"/>
          </ac:spMkLst>
        </pc:spChg>
        <pc:graphicFrameChg chg="mod">
          <ac:chgData name="Winstead, Christina (WSAC)" userId="9bc475b0-4b84-4753-a1a9-2b7187fd9332" providerId="ADAL" clId="{17A47D50-DCFF-492E-B680-1C28FCF7AF5B}" dt="2023-08-10T23:20:58.033" v="53" actId="18131"/>
          <ac:graphicFrameMkLst>
            <pc:docMk/>
            <pc:sldMk cId="156269512" sldId="318"/>
            <ac:graphicFrameMk id="4" creationId="{3DC75201-62FB-467C-AD9D-08A284815132}"/>
          </ac:graphicFrameMkLst>
        </pc:graphicFrameChg>
      </pc:sldChg>
      <pc:sldChg chg="addSp modSp">
        <pc:chgData name="Winstead, Christina (WSAC)" userId="9bc475b0-4b84-4753-a1a9-2b7187fd9332" providerId="ADAL" clId="{17A47D50-DCFF-492E-B680-1C28FCF7AF5B}" dt="2023-08-10T23:11:55.536" v="36" actId="1076"/>
        <pc:sldMkLst>
          <pc:docMk/>
          <pc:sldMk cId="1311934557" sldId="622"/>
        </pc:sldMkLst>
        <pc:picChg chg="add mod">
          <ac:chgData name="Winstead, Christina (WSAC)" userId="9bc475b0-4b84-4753-a1a9-2b7187fd9332" providerId="ADAL" clId="{17A47D50-DCFF-492E-B680-1C28FCF7AF5B}" dt="2023-08-10T23:11:55.536" v="36" actId="1076"/>
          <ac:picMkLst>
            <pc:docMk/>
            <pc:sldMk cId="1311934557" sldId="622"/>
            <ac:picMk id="6" creationId="{07EBA453-FC8F-7662-B30B-3B618ACB684B}"/>
          </ac:picMkLst>
        </pc:picChg>
      </pc:sldChg>
      <pc:sldChg chg="addSp delSp modSp mod">
        <pc:chgData name="Winstead, Christina (WSAC)" userId="9bc475b0-4b84-4753-a1a9-2b7187fd9332" providerId="ADAL" clId="{17A47D50-DCFF-492E-B680-1C28FCF7AF5B}" dt="2023-08-10T23:03:09.931" v="1"/>
        <pc:sldMkLst>
          <pc:docMk/>
          <pc:sldMk cId="298345211" sldId="1736"/>
        </pc:sldMkLst>
        <pc:picChg chg="del">
          <ac:chgData name="Winstead, Christina (WSAC)" userId="9bc475b0-4b84-4753-a1a9-2b7187fd9332" providerId="ADAL" clId="{17A47D50-DCFF-492E-B680-1C28FCF7AF5B}" dt="2023-08-10T23:03:09.708" v="0" actId="478"/>
          <ac:picMkLst>
            <pc:docMk/>
            <pc:sldMk cId="298345211" sldId="1736"/>
            <ac:picMk id="9" creationId="{CBFD5E90-0D39-4CEB-83E8-D1BA5B042D3E}"/>
          </ac:picMkLst>
        </pc:picChg>
        <pc:picChg chg="add mod">
          <ac:chgData name="Winstead, Christina (WSAC)" userId="9bc475b0-4b84-4753-a1a9-2b7187fd9332" providerId="ADAL" clId="{17A47D50-DCFF-492E-B680-1C28FCF7AF5B}" dt="2023-08-10T23:03:09.931" v="1"/>
          <ac:picMkLst>
            <pc:docMk/>
            <pc:sldMk cId="298345211" sldId="1736"/>
            <ac:picMk id="10" creationId="{0C5DCB56-B45B-9A0D-F9B6-594948387DBB}"/>
          </ac:picMkLst>
        </pc:picChg>
      </pc:sldChg>
      <pc:sldChg chg="add">
        <pc:chgData name="Winstead, Christina (WSAC)" userId="9bc475b0-4b84-4753-a1a9-2b7187fd9332" providerId="ADAL" clId="{17A47D50-DCFF-492E-B680-1C28FCF7AF5B}" dt="2023-08-10T23:11:17.716" v="34"/>
        <pc:sldMkLst>
          <pc:docMk/>
          <pc:sldMk cId="3927231622" sldId="1744"/>
        </pc:sldMkLst>
      </pc:sldChg>
    </pc:docChg>
  </pc:docChgLst>
</pc:chgInfo>
</file>

<file path=ppt/diagrams/_rels/data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image" Target="../media/image23.png"/></Relationships>
</file>

<file path=ppt/diagrams/_rels/data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image" Target="../media/image25.png"/></Relationships>
</file>

<file path=ppt/diagrams/_rels/data20.xml.rels><?xml version="1.0" encoding="UTF-8" standalone="yes"?>
<Relationships xmlns="http://schemas.openxmlformats.org/package/2006/relationships"><Relationship Id="rId3" Type="http://schemas.openxmlformats.org/officeDocument/2006/relationships/hyperlink" Target="https://readysetgrad.wa.gov/WASFAelig" TargetMode="External"/><Relationship Id="rId2" Type="http://schemas.openxmlformats.org/officeDocument/2006/relationships/hyperlink" Target="https://fsaid.ed.gov/npas/index.htm" TargetMode="External"/><Relationship Id="rId1" Type="http://schemas.openxmlformats.org/officeDocument/2006/relationships/hyperlink" Target="https://wsac.wa.gov/WASFAelig" TargetMode="External"/></Relationships>
</file>

<file path=ppt/diagrams/_rels/data23.xml.rels><?xml version="1.0" encoding="UTF-8" standalone="yes"?>
<Relationships xmlns="http://schemas.openxmlformats.org/package/2006/relationships"><Relationship Id="rId3" Type="http://schemas.openxmlformats.org/officeDocument/2006/relationships/image" Target="../media/image43.wmf"/><Relationship Id="rId2" Type="http://schemas.openxmlformats.org/officeDocument/2006/relationships/image" Target="../media/image42.wmf"/><Relationship Id="rId1" Type="http://schemas.openxmlformats.org/officeDocument/2006/relationships/image" Target="../media/image41.wmf"/></Relationships>
</file>

<file path=ppt/diagrams/_rels/drawing1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image" Target="../media/image23.png"/></Relationships>
</file>

<file path=ppt/diagrams/_rels/drawing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image" Target="../media/image25.png"/></Relationships>
</file>

<file path=ppt/diagrams/_rels/drawing20.xml.rels><?xml version="1.0" encoding="UTF-8" standalone="yes"?>
<Relationships xmlns="http://schemas.openxmlformats.org/package/2006/relationships"><Relationship Id="rId3" Type="http://schemas.openxmlformats.org/officeDocument/2006/relationships/hyperlink" Target="https://readysetgrad.wa.gov/WASFAelig" TargetMode="External"/><Relationship Id="rId2" Type="http://schemas.openxmlformats.org/officeDocument/2006/relationships/hyperlink" Target="https://fsaid.ed.gov/npas/index.htm" TargetMode="External"/><Relationship Id="rId1" Type="http://schemas.openxmlformats.org/officeDocument/2006/relationships/hyperlink" Target="https://wsac.wa.gov/WASFAelig" TargetMode="External"/></Relationships>
</file>

<file path=ppt/diagrams/_rels/drawing23.xml.rels><?xml version="1.0" encoding="UTF-8" standalone="yes"?>
<Relationships xmlns="http://schemas.openxmlformats.org/package/2006/relationships"><Relationship Id="rId3" Type="http://schemas.openxmlformats.org/officeDocument/2006/relationships/image" Target="../media/image43.wmf"/><Relationship Id="rId2" Type="http://schemas.openxmlformats.org/officeDocument/2006/relationships/image" Target="../media/image42.wmf"/><Relationship Id="rId1" Type="http://schemas.openxmlformats.org/officeDocument/2006/relationships/image" Target="../media/image41.wmf"/></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533E19-5A2A-4125-93A1-598AA7C7FAE3}"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9F544B7E-BB6F-42F0-8CD6-37A9B4D62F88}">
      <dgm:prSet phldrT="[Text]" custT="1"/>
      <dgm:spPr/>
      <dgm:t>
        <a:bodyPr/>
        <a:lstStyle/>
        <a:p>
          <a:r>
            <a:rPr lang="en-US" sz="3200" err="1">
              <a:latin typeface="+mj-lt"/>
            </a:rPr>
            <a:t>Cuando</a:t>
          </a:r>
          <a:r>
            <a:rPr lang="en-US" sz="3200">
              <a:latin typeface="+mj-lt"/>
            </a:rPr>
            <a:t> Debo de </a:t>
          </a:r>
          <a:r>
            <a:rPr lang="en-US" sz="3200" err="1">
              <a:latin typeface="+mj-lt"/>
            </a:rPr>
            <a:t>Aplicar</a:t>
          </a:r>
          <a:r>
            <a:rPr lang="en-US" sz="3200">
              <a:latin typeface="+mj-lt"/>
            </a:rPr>
            <a:t> para la </a:t>
          </a:r>
          <a:r>
            <a:rPr lang="en-US" sz="3200" err="1">
              <a:latin typeface="+mj-lt"/>
            </a:rPr>
            <a:t>Ayuda</a:t>
          </a:r>
          <a:r>
            <a:rPr lang="en-US" sz="3200">
              <a:latin typeface="+mj-lt"/>
            </a:rPr>
            <a:t> </a:t>
          </a:r>
          <a:r>
            <a:rPr lang="en-US" sz="3200" err="1">
              <a:latin typeface="+mj-lt"/>
            </a:rPr>
            <a:t>Financiera</a:t>
          </a:r>
          <a:endParaRPr lang="en-US" sz="3200">
            <a:latin typeface="+mj-lt"/>
          </a:endParaRPr>
        </a:p>
      </dgm:t>
    </dgm:pt>
    <dgm:pt modelId="{D891EB5F-B373-4AF6-9FEF-DEC9E94C1EDF}" type="parTrans" cxnId="{D844531B-6669-438A-A953-7E3F8275FF4A}">
      <dgm:prSet/>
      <dgm:spPr/>
      <dgm:t>
        <a:bodyPr/>
        <a:lstStyle/>
        <a:p>
          <a:endParaRPr lang="en-US"/>
        </a:p>
      </dgm:t>
    </dgm:pt>
    <dgm:pt modelId="{093E1C3F-086F-4777-9009-A7992C4300DD}" type="sibTrans" cxnId="{D844531B-6669-438A-A953-7E3F8275FF4A}">
      <dgm:prSet/>
      <dgm:spPr/>
      <dgm:t>
        <a:bodyPr/>
        <a:lstStyle/>
        <a:p>
          <a:endParaRPr lang="en-US"/>
        </a:p>
      </dgm:t>
    </dgm:pt>
    <dgm:pt modelId="{C5D9902A-7ED5-4154-8531-7894B0EABEA0}">
      <dgm:prSet phldrT="[Text]" custT="1"/>
      <dgm:spPr/>
      <dgm:t>
        <a:bodyPr/>
        <a:lstStyle/>
        <a:p>
          <a:r>
            <a:rPr lang="en-US" sz="3600">
              <a:latin typeface="+mj-lt"/>
            </a:rPr>
            <a:t> </a:t>
          </a:r>
          <a:r>
            <a:rPr lang="en-US" sz="3200">
              <a:latin typeface="+mj-lt"/>
            </a:rPr>
            <a:t>Que es </a:t>
          </a:r>
          <a:r>
            <a:rPr lang="en-US" sz="3200" err="1">
              <a:latin typeface="+mj-lt"/>
            </a:rPr>
            <a:t>Ayuda</a:t>
          </a:r>
          <a:r>
            <a:rPr lang="en-US" sz="3200">
              <a:latin typeface="+mj-lt"/>
            </a:rPr>
            <a:t> </a:t>
          </a:r>
          <a:r>
            <a:rPr lang="en-US" sz="3200" err="1">
              <a:latin typeface="+mj-lt"/>
            </a:rPr>
            <a:t>Financiera</a:t>
          </a:r>
          <a:endParaRPr lang="en-US" sz="3200">
            <a:latin typeface="+mj-lt"/>
          </a:endParaRPr>
        </a:p>
      </dgm:t>
    </dgm:pt>
    <dgm:pt modelId="{1E01E3B9-0CE1-4E84-9F62-A803D707BCA8}" type="parTrans" cxnId="{D0B1A852-554A-48B2-A3FA-BC555C488381}">
      <dgm:prSet/>
      <dgm:spPr/>
      <dgm:t>
        <a:bodyPr/>
        <a:lstStyle/>
        <a:p>
          <a:endParaRPr lang="en-US"/>
        </a:p>
      </dgm:t>
    </dgm:pt>
    <dgm:pt modelId="{02453732-B8B6-4813-AA6E-560739F915E1}" type="sibTrans" cxnId="{D0B1A852-554A-48B2-A3FA-BC555C488381}">
      <dgm:prSet/>
      <dgm:spPr/>
      <dgm:t>
        <a:bodyPr/>
        <a:lstStyle/>
        <a:p>
          <a:endParaRPr lang="en-US"/>
        </a:p>
      </dgm:t>
    </dgm:pt>
    <dgm:pt modelId="{FB086AB9-6FE8-42F2-89E8-A75A46345033}">
      <dgm:prSet phldrT="[Text]" custT="1"/>
      <dgm:spPr/>
      <dgm:t>
        <a:bodyPr/>
        <a:lstStyle/>
        <a:p>
          <a:r>
            <a:rPr lang="en-US" sz="3200">
              <a:latin typeface="+mj-lt"/>
            </a:rPr>
            <a:t>Como </a:t>
          </a:r>
          <a:r>
            <a:rPr lang="en-US" sz="3200" err="1">
              <a:latin typeface="+mj-lt"/>
            </a:rPr>
            <a:t>Aplicar</a:t>
          </a:r>
          <a:r>
            <a:rPr lang="en-US" sz="3200">
              <a:latin typeface="+mj-lt"/>
            </a:rPr>
            <a:t> para la </a:t>
          </a:r>
          <a:r>
            <a:rPr lang="en-US" sz="3200" err="1">
              <a:latin typeface="+mj-lt"/>
            </a:rPr>
            <a:t>Ayuda</a:t>
          </a:r>
          <a:r>
            <a:rPr lang="en-US" sz="3200">
              <a:latin typeface="+mj-lt"/>
            </a:rPr>
            <a:t> </a:t>
          </a:r>
          <a:r>
            <a:rPr lang="en-US" sz="3200" err="1">
              <a:latin typeface="+mj-lt"/>
            </a:rPr>
            <a:t>Financiera</a:t>
          </a:r>
          <a:endParaRPr lang="en-US" sz="3200">
            <a:latin typeface="+mj-lt"/>
          </a:endParaRPr>
        </a:p>
      </dgm:t>
    </dgm:pt>
    <dgm:pt modelId="{582B97E9-8735-4343-8FCB-70F73FE202EB}" type="parTrans" cxnId="{993FC79E-090D-44CA-B469-42C531944630}">
      <dgm:prSet/>
      <dgm:spPr/>
      <dgm:t>
        <a:bodyPr/>
        <a:lstStyle/>
        <a:p>
          <a:endParaRPr lang="en-US"/>
        </a:p>
      </dgm:t>
    </dgm:pt>
    <dgm:pt modelId="{265F4DA0-5017-422E-AB08-B7D828A3062A}" type="sibTrans" cxnId="{993FC79E-090D-44CA-B469-42C531944630}">
      <dgm:prSet/>
      <dgm:spPr/>
      <dgm:t>
        <a:bodyPr/>
        <a:lstStyle/>
        <a:p>
          <a:endParaRPr lang="en-US"/>
        </a:p>
      </dgm:t>
    </dgm:pt>
    <dgm:pt modelId="{64C5303A-1CA3-4A69-ADCE-98CE313735BD}">
      <dgm:prSet phldrT="[Text]" custT="1"/>
      <dgm:spPr/>
      <dgm:t>
        <a:bodyPr/>
        <a:lstStyle/>
        <a:p>
          <a:r>
            <a:rPr lang="en-US" sz="3200" err="1">
              <a:latin typeface="+mj-lt"/>
            </a:rPr>
            <a:t>Becas</a:t>
          </a:r>
          <a:endParaRPr lang="en-US" sz="3200">
            <a:latin typeface="+mj-lt"/>
          </a:endParaRPr>
        </a:p>
      </dgm:t>
    </dgm:pt>
    <dgm:pt modelId="{B363344B-3402-452A-8900-45AE6CE8EB69}" type="sibTrans" cxnId="{94D38394-049E-4553-98A6-B76AF7CD5D83}">
      <dgm:prSet/>
      <dgm:spPr/>
      <dgm:t>
        <a:bodyPr/>
        <a:lstStyle/>
        <a:p>
          <a:endParaRPr lang="en-US"/>
        </a:p>
      </dgm:t>
    </dgm:pt>
    <dgm:pt modelId="{E6B608A5-44E1-4D9D-8C8D-6A79BD755003}" type="parTrans" cxnId="{94D38394-049E-4553-98A6-B76AF7CD5D83}">
      <dgm:prSet/>
      <dgm:spPr/>
      <dgm:t>
        <a:bodyPr/>
        <a:lstStyle/>
        <a:p>
          <a:endParaRPr lang="en-US"/>
        </a:p>
      </dgm:t>
    </dgm:pt>
    <dgm:pt modelId="{666DB415-2BE6-4983-9C13-E2E9449034C2}">
      <dgm:prSet phldrT="[Text]" custT="1"/>
      <dgm:spPr/>
      <dgm:t>
        <a:bodyPr/>
        <a:lstStyle/>
        <a:p>
          <a:r>
            <a:rPr lang="en-US" sz="3200" err="1">
              <a:latin typeface="+mj-lt"/>
            </a:rPr>
            <a:t>Ayuda</a:t>
          </a:r>
          <a:r>
            <a:rPr lang="en-US" sz="3200">
              <a:latin typeface="+mj-lt"/>
            </a:rPr>
            <a:t> y </a:t>
          </a:r>
          <a:r>
            <a:rPr lang="en-US" sz="3200" err="1">
              <a:latin typeface="+mj-lt"/>
            </a:rPr>
            <a:t>Recursos</a:t>
          </a:r>
          <a:endParaRPr lang="en-US" sz="3200">
            <a:latin typeface="+mj-lt"/>
          </a:endParaRPr>
        </a:p>
      </dgm:t>
    </dgm:pt>
    <dgm:pt modelId="{A2E64B4E-B565-461E-AE99-B4C4615CA984}" type="parTrans" cxnId="{B0DE31BA-660A-4816-8A56-408E39D003FB}">
      <dgm:prSet/>
      <dgm:spPr/>
      <dgm:t>
        <a:bodyPr/>
        <a:lstStyle/>
        <a:p>
          <a:endParaRPr lang="en-US"/>
        </a:p>
      </dgm:t>
    </dgm:pt>
    <dgm:pt modelId="{C2544586-F178-41C9-A9DD-C06AC472D788}" type="sibTrans" cxnId="{B0DE31BA-660A-4816-8A56-408E39D003FB}">
      <dgm:prSet/>
      <dgm:spPr/>
      <dgm:t>
        <a:bodyPr/>
        <a:lstStyle/>
        <a:p>
          <a:endParaRPr lang="en-US"/>
        </a:p>
      </dgm:t>
    </dgm:pt>
    <dgm:pt modelId="{EB42F8E6-F60F-40B0-B2B2-A3D2A5ABD5AD}" type="pres">
      <dgm:prSet presAssocID="{17533E19-5A2A-4125-93A1-598AA7C7FAE3}" presName="linear" presStyleCnt="0">
        <dgm:presLayoutVars>
          <dgm:dir/>
          <dgm:animLvl val="lvl"/>
          <dgm:resizeHandles val="exact"/>
        </dgm:presLayoutVars>
      </dgm:prSet>
      <dgm:spPr/>
    </dgm:pt>
    <dgm:pt modelId="{276A1E23-5945-49A8-B205-990D43FB6980}" type="pres">
      <dgm:prSet presAssocID="{C5D9902A-7ED5-4154-8531-7894B0EABEA0}" presName="parentLin" presStyleCnt="0"/>
      <dgm:spPr/>
    </dgm:pt>
    <dgm:pt modelId="{12043BBD-C355-46D4-BD23-AA2329B6C502}" type="pres">
      <dgm:prSet presAssocID="{C5D9902A-7ED5-4154-8531-7894B0EABEA0}" presName="parentLeftMargin" presStyleLbl="node1" presStyleIdx="0" presStyleCnt="5"/>
      <dgm:spPr/>
    </dgm:pt>
    <dgm:pt modelId="{D76C5EB5-E1AF-41B2-859B-EEED895DEA30}" type="pres">
      <dgm:prSet presAssocID="{C5D9902A-7ED5-4154-8531-7894B0EABEA0}" presName="parentText" presStyleLbl="node1" presStyleIdx="0" presStyleCnt="5" custScaleX="142857" custScaleY="117521">
        <dgm:presLayoutVars>
          <dgm:chMax val="0"/>
          <dgm:bulletEnabled val="1"/>
        </dgm:presLayoutVars>
      </dgm:prSet>
      <dgm:spPr/>
    </dgm:pt>
    <dgm:pt modelId="{BB6D1C18-120A-4808-97ED-E19578356283}" type="pres">
      <dgm:prSet presAssocID="{C5D9902A-7ED5-4154-8531-7894B0EABEA0}" presName="negativeSpace" presStyleCnt="0"/>
      <dgm:spPr/>
    </dgm:pt>
    <dgm:pt modelId="{4F222192-D453-4B4A-843F-4A72AC6E16A2}" type="pres">
      <dgm:prSet presAssocID="{C5D9902A-7ED5-4154-8531-7894B0EABEA0}" presName="childText" presStyleLbl="conFgAcc1" presStyleIdx="0" presStyleCnt="5">
        <dgm:presLayoutVars>
          <dgm:bulletEnabled val="1"/>
        </dgm:presLayoutVars>
      </dgm:prSet>
      <dgm:spPr/>
    </dgm:pt>
    <dgm:pt modelId="{0FC6646E-8C97-4DB0-AD69-CD3768AE9DFB}" type="pres">
      <dgm:prSet presAssocID="{02453732-B8B6-4813-AA6E-560739F915E1}" presName="spaceBetweenRectangles" presStyleCnt="0"/>
      <dgm:spPr/>
    </dgm:pt>
    <dgm:pt modelId="{F2C78933-1051-4B73-A93F-CEF01DE9A5DB}" type="pres">
      <dgm:prSet presAssocID="{9F544B7E-BB6F-42F0-8CD6-37A9B4D62F88}" presName="parentLin" presStyleCnt="0"/>
      <dgm:spPr/>
    </dgm:pt>
    <dgm:pt modelId="{4ACD8D13-B668-4D40-954D-8E8F9AD5CE64}" type="pres">
      <dgm:prSet presAssocID="{9F544B7E-BB6F-42F0-8CD6-37A9B4D62F88}" presName="parentLeftMargin" presStyleLbl="node1" presStyleIdx="0" presStyleCnt="5"/>
      <dgm:spPr/>
    </dgm:pt>
    <dgm:pt modelId="{3CD455F3-8D55-4B90-9AE0-9D7BAA7022B6}" type="pres">
      <dgm:prSet presAssocID="{9F544B7E-BB6F-42F0-8CD6-37A9B4D62F88}" presName="parentText" presStyleLbl="node1" presStyleIdx="1" presStyleCnt="5" custScaleX="142857">
        <dgm:presLayoutVars>
          <dgm:chMax val="0"/>
          <dgm:bulletEnabled val="1"/>
        </dgm:presLayoutVars>
      </dgm:prSet>
      <dgm:spPr/>
    </dgm:pt>
    <dgm:pt modelId="{9708B6B6-5507-4F35-8F48-E80025428A7E}" type="pres">
      <dgm:prSet presAssocID="{9F544B7E-BB6F-42F0-8CD6-37A9B4D62F88}" presName="negativeSpace" presStyleCnt="0"/>
      <dgm:spPr/>
    </dgm:pt>
    <dgm:pt modelId="{B6B79D58-ACC4-43B5-B7D4-CB5B36EF88AD}" type="pres">
      <dgm:prSet presAssocID="{9F544B7E-BB6F-42F0-8CD6-37A9B4D62F88}" presName="childText" presStyleLbl="conFgAcc1" presStyleIdx="1" presStyleCnt="5">
        <dgm:presLayoutVars>
          <dgm:bulletEnabled val="1"/>
        </dgm:presLayoutVars>
      </dgm:prSet>
      <dgm:spPr/>
    </dgm:pt>
    <dgm:pt modelId="{7C1E5307-EAF9-4E1A-B3B9-F87CA66381CD}" type="pres">
      <dgm:prSet presAssocID="{093E1C3F-086F-4777-9009-A7992C4300DD}" presName="spaceBetweenRectangles" presStyleCnt="0"/>
      <dgm:spPr/>
    </dgm:pt>
    <dgm:pt modelId="{75E6ACD6-EEEA-4AB7-BFC2-C095DDD69A57}" type="pres">
      <dgm:prSet presAssocID="{FB086AB9-6FE8-42F2-89E8-A75A46345033}" presName="parentLin" presStyleCnt="0"/>
      <dgm:spPr/>
    </dgm:pt>
    <dgm:pt modelId="{612D9C34-24FE-4958-8A27-EE890142D424}" type="pres">
      <dgm:prSet presAssocID="{FB086AB9-6FE8-42F2-89E8-A75A46345033}" presName="parentLeftMargin" presStyleLbl="node1" presStyleIdx="1" presStyleCnt="5"/>
      <dgm:spPr/>
    </dgm:pt>
    <dgm:pt modelId="{179FDEF8-D7CD-427A-B285-EE879B8EA4D2}" type="pres">
      <dgm:prSet presAssocID="{FB086AB9-6FE8-42F2-89E8-A75A46345033}" presName="parentText" presStyleLbl="node1" presStyleIdx="2" presStyleCnt="5" custScaleX="142857" custScaleY="120481">
        <dgm:presLayoutVars>
          <dgm:chMax val="0"/>
          <dgm:bulletEnabled val="1"/>
        </dgm:presLayoutVars>
      </dgm:prSet>
      <dgm:spPr/>
    </dgm:pt>
    <dgm:pt modelId="{709135BA-071B-49E0-B694-5AD77BEB9D03}" type="pres">
      <dgm:prSet presAssocID="{FB086AB9-6FE8-42F2-89E8-A75A46345033}" presName="negativeSpace" presStyleCnt="0"/>
      <dgm:spPr/>
    </dgm:pt>
    <dgm:pt modelId="{FC0D32A5-9D58-490E-A8D1-BE503E2D5B18}" type="pres">
      <dgm:prSet presAssocID="{FB086AB9-6FE8-42F2-89E8-A75A46345033}" presName="childText" presStyleLbl="conFgAcc1" presStyleIdx="2" presStyleCnt="5">
        <dgm:presLayoutVars>
          <dgm:bulletEnabled val="1"/>
        </dgm:presLayoutVars>
      </dgm:prSet>
      <dgm:spPr/>
    </dgm:pt>
    <dgm:pt modelId="{D6BAC78F-E18E-45E0-B565-19F21C322375}" type="pres">
      <dgm:prSet presAssocID="{265F4DA0-5017-422E-AB08-B7D828A3062A}" presName="spaceBetweenRectangles" presStyleCnt="0"/>
      <dgm:spPr/>
    </dgm:pt>
    <dgm:pt modelId="{D0B04DB3-AC6E-4F2D-85AC-892F8153A999}" type="pres">
      <dgm:prSet presAssocID="{64C5303A-1CA3-4A69-ADCE-98CE313735BD}" presName="parentLin" presStyleCnt="0"/>
      <dgm:spPr/>
    </dgm:pt>
    <dgm:pt modelId="{7373C091-728A-47D1-9EEB-C76590FA7FED}" type="pres">
      <dgm:prSet presAssocID="{64C5303A-1CA3-4A69-ADCE-98CE313735BD}" presName="parentLeftMargin" presStyleLbl="node1" presStyleIdx="2" presStyleCnt="5"/>
      <dgm:spPr/>
    </dgm:pt>
    <dgm:pt modelId="{165D3DDC-7096-4D3E-B5C0-86E4F1E8709D}" type="pres">
      <dgm:prSet presAssocID="{64C5303A-1CA3-4A69-ADCE-98CE313735BD}" presName="parentText" presStyleLbl="node1" presStyleIdx="3" presStyleCnt="5" custScaleX="142857">
        <dgm:presLayoutVars>
          <dgm:chMax val="0"/>
          <dgm:bulletEnabled val="1"/>
        </dgm:presLayoutVars>
      </dgm:prSet>
      <dgm:spPr/>
    </dgm:pt>
    <dgm:pt modelId="{82BB24F6-EB3C-49ED-8F57-EF5C9198329D}" type="pres">
      <dgm:prSet presAssocID="{64C5303A-1CA3-4A69-ADCE-98CE313735BD}" presName="negativeSpace" presStyleCnt="0"/>
      <dgm:spPr/>
    </dgm:pt>
    <dgm:pt modelId="{9103310C-A17C-4A08-8DB7-1B66388FB090}" type="pres">
      <dgm:prSet presAssocID="{64C5303A-1CA3-4A69-ADCE-98CE313735BD}" presName="childText" presStyleLbl="conFgAcc1" presStyleIdx="3" presStyleCnt="5">
        <dgm:presLayoutVars>
          <dgm:bulletEnabled val="1"/>
        </dgm:presLayoutVars>
      </dgm:prSet>
      <dgm:spPr/>
    </dgm:pt>
    <dgm:pt modelId="{6474D46A-9FFE-4236-95A0-1B85BBF438C8}" type="pres">
      <dgm:prSet presAssocID="{B363344B-3402-452A-8900-45AE6CE8EB69}" presName="spaceBetweenRectangles" presStyleCnt="0"/>
      <dgm:spPr/>
    </dgm:pt>
    <dgm:pt modelId="{6CBEF29E-71E9-4BD3-B962-5FCA9F5A9142}" type="pres">
      <dgm:prSet presAssocID="{666DB415-2BE6-4983-9C13-E2E9449034C2}" presName="parentLin" presStyleCnt="0"/>
      <dgm:spPr/>
    </dgm:pt>
    <dgm:pt modelId="{D68273B8-618B-48F1-9576-909F148C06F5}" type="pres">
      <dgm:prSet presAssocID="{666DB415-2BE6-4983-9C13-E2E9449034C2}" presName="parentLeftMargin" presStyleLbl="node1" presStyleIdx="3" presStyleCnt="5"/>
      <dgm:spPr/>
    </dgm:pt>
    <dgm:pt modelId="{2DB71670-A409-4ABE-BE9F-5EEF94B7F966}" type="pres">
      <dgm:prSet presAssocID="{666DB415-2BE6-4983-9C13-E2E9449034C2}" presName="parentText" presStyleLbl="node1" presStyleIdx="4" presStyleCnt="5">
        <dgm:presLayoutVars>
          <dgm:chMax val="0"/>
          <dgm:bulletEnabled val="1"/>
        </dgm:presLayoutVars>
      </dgm:prSet>
      <dgm:spPr/>
    </dgm:pt>
    <dgm:pt modelId="{BFF5E9C4-5B65-4A8A-B40F-983202BDE7E4}" type="pres">
      <dgm:prSet presAssocID="{666DB415-2BE6-4983-9C13-E2E9449034C2}" presName="negativeSpace" presStyleCnt="0"/>
      <dgm:spPr/>
    </dgm:pt>
    <dgm:pt modelId="{25A9FD29-E5A5-4594-BFD4-03E812FD8B45}" type="pres">
      <dgm:prSet presAssocID="{666DB415-2BE6-4983-9C13-E2E9449034C2}" presName="childText" presStyleLbl="conFgAcc1" presStyleIdx="4" presStyleCnt="5">
        <dgm:presLayoutVars>
          <dgm:bulletEnabled val="1"/>
        </dgm:presLayoutVars>
      </dgm:prSet>
      <dgm:spPr/>
    </dgm:pt>
  </dgm:ptLst>
  <dgm:cxnLst>
    <dgm:cxn modelId="{12B9800E-A832-44D2-988F-3D7217B0879D}" type="presOf" srcId="{FB086AB9-6FE8-42F2-89E8-A75A46345033}" destId="{179FDEF8-D7CD-427A-B285-EE879B8EA4D2}" srcOrd="1" destOrd="0" presId="urn:microsoft.com/office/officeart/2005/8/layout/list1"/>
    <dgm:cxn modelId="{95819812-9C66-4F01-9137-3A29C61F4CB9}" type="presOf" srcId="{666DB415-2BE6-4983-9C13-E2E9449034C2}" destId="{2DB71670-A409-4ABE-BE9F-5EEF94B7F966}" srcOrd="1" destOrd="0" presId="urn:microsoft.com/office/officeart/2005/8/layout/list1"/>
    <dgm:cxn modelId="{D844531B-6669-438A-A953-7E3F8275FF4A}" srcId="{17533E19-5A2A-4125-93A1-598AA7C7FAE3}" destId="{9F544B7E-BB6F-42F0-8CD6-37A9B4D62F88}" srcOrd="1" destOrd="0" parTransId="{D891EB5F-B373-4AF6-9FEF-DEC9E94C1EDF}" sibTransId="{093E1C3F-086F-4777-9009-A7992C4300DD}"/>
    <dgm:cxn modelId="{D9D37524-6542-4D5E-A9A2-58A1BE7DA68E}" type="presOf" srcId="{666DB415-2BE6-4983-9C13-E2E9449034C2}" destId="{D68273B8-618B-48F1-9576-909F148C06F5}" srcOrd="0" destOrd="0" presId="urn:microsoft.com/office/officeart/2005/8/layout/list1"/>
    <dgm:cxn modelId="{D0B1A852-554A-48B2-A3FA-BC555C488381}" srcId="{17533E19-5A2A-4125-93A1-598AA7C7FAE3}" destId="{C5D9902A-7ED5-4154-8531-7894B0EABEA0}" srcOrd="0" destOrd="0" parTransId="{1E01E3B9-0CE1-4E84-9F62-A803D707BCA8}" sibTransId="{02453732-B8B6-4813-AA6E-560739F915E1}"/>
    <dgm:cxn modelId="{0A7A1055-B8DC-4876-8A62-84CE29906970}" type="presOf" srcId="{9F544B7E-BB6F-42F0-8CD6-37A9B4D62F88}" destId="{4ACD8D13-B668-4D40-954D-8E8F9AD5CE64}" srcOrd="0" destOrd="0" presId="urn:microsoft.com/office/officeart/2005/8/layout/list1"/>
    <dgm:cxn modelId="{FEF02A7F-3B84-4474-8943-5E08954CEC2D}" type="presOf" srcId="{64C5303A-1CA3-4A69-ADCE-98CE313735BD}" destId="{165D3DDC-7096-4D3E-B5C0-86E4F1E8709D}" srcOrd="1" destOrd="0" presId="urn:microsoft.com/office/officeart/2005/8/layout/list1"/>
    <dgm:cxn modelId="{D6521A88-E1A2-49E0-8DAD-5AFC60AF2976}" type="presOf" srcId="{17533E19-5A2A-4125-93A1-598AA7C7FAE3}" destId="{EB42F8E6-F60F-40B0-B2B2-A3D2A5ABD5AD}" srcOrd="0" destOrd="0" presId="urn:microsoft.com/office/officeart/2005/8/layout/list1"/>
    <dgm:cxn modelId="{7AB9C38D-0601-446F-8911-F90E0E7DE52D}" type="presOf" srcId="{64C5303A-1CA3-4A69-ADCE-98CE313735BD}" destId="{7373C091-728A-47D1-9EEB-C76590FA7FED}" srcOrd="0" destOrd="0" presId="urn:microsoft.com/office/officeart/2005/8/layout/list1"/>
    <dgm:cxn modelId="{94D38394-049E-4553-98A6-B76AF7CD5D83}" srcId="{17533E19-5A2A-4125-93A1-598AA7C7FAE3}" destId="{64C5303A-1CA3-4A69-ADCE-98CE313735BD}" srcOrd="3" destOrd="0" parTransId="{E6B608A5-44E1-4D9D-8C8D-6A79BD755003}" sibTransId="{B363344B-3402-452A-8900-45AE6CE8EB69}"/>
    <dgm:cxn modelId="{993FC79E-090D-44CA-B469-42C531944630}" srcId="{17533E19-5A2A-4125-93A1-598AA7C7FAE3}" destId="{FB086AB9-6FE8-42F2-89E8-A75A46345033}" srcOrd="2" destOrd="0" parTransId="{582B97E9-8735-4343-8FCB-70F73FE202EB}" sibTransId="{265F4DA0-5017-422E-AB08-B7D828A3062A}"/>
    <dgm:cxn modelId="{B0DE31BA-660A-4816-8A56-408E39D003FB}" srcId="{17533E19-5A2A-4125-93A1-598AA7C7FAE3}" destId="{666DB415-2BE6-4983-9C13-E2E9449034C2}" srcOrd="4" destOrd="0" parTransId="{A2E64B4E-B565-461E-AE99-B4C4615CA984}" sibTransId="{C2544586-F178-41C9-A9DD-C06AC472D788}"/>
    <dgm:cxn modelId="{14693CC1-EE11-4B08-86A6-A016A7E69DFD}" type="presOf" srcId="{C5D9902A-7ED5-4154-8531-7894B0EABEA0}" destId="{D76C5EB5-E1AF-41B2-859B-EEED895DEA30}" srcOrd="1" destOrd="0" presId="urn:microsoft.com/office/officeart/2005/8/layout/list1"/>
    <dgm:cxn modelId="{35A608C3-6F2C-4164-A7C2-D01027300C7B}" type="presOf" srcId="{FB086AB9-6FE8-42F2-89E8-A75A46345033}" destId="{612D9C34-24FE-4958-8A27-EE890142D424}" srcOrd="0" destOrd="0" presId="urn:microsoft.com/office/officeart/2005/8/layout/list1"/>
    <dgm:cxn modelId="{4AC68CCB-CF4E-460D-9F5C-FC508A0173DC}" type="presOf" srcId="{C5D9902A-7ED5-4154-8531-7894B0EABEA0}" destId="{12043BBD-C355-46D4-BD23-AA2329B6C502}" srcOrd="0" destOrd="0" presId="urn:microsoft.com/office/officeart/2005/8/layout/list1"/>
    <dgm:cxn modelId="{E60EF1CD-73E4-42A3-AA31-8C7381A11F86}" type="presOf" srcId="{9F544B7E-BB6F-42F0-8CD6-37A9B4D62F88}" destId="{3CD455F3-8D55-4B90-9AE0-9D7BAA7022B6}" srcOrd="1" destOrd="0" presId="urn:microsoft.com/office/officeart/2005/8/layout/list1"/>
    <dgm:cxn modelId="{A93627E7-27A0-49BB-8229-3B01F8A5C6D7}" type="presParOf" srcId="{EB42F8E6-F60F-40B0-B2B2-A3D2A5ABD5AD}" destId="{276A1E23-5945-49A8-B205-990D43FB6980}" srcOrd="0" destOrd="0" presId="urn:microsoft.com/office/officeart/2005/8/layout/list1"/>
    <dgm:cxn modelId="{C6BEBAB5-AF03-4421-83E8-7B509F1079A4}" type="presParOf" srcId="{276A1E23-5945-49A8-B205-990D43FB6980}" destId="{12043BBD-C355-46D4-BD23-AA2329B6C502}" srcOrd="0" destOrd="0" presId="urn:microsoft.com/office/officeart/2005/8/layout/list1"/>
    <dgm:cxn modelId="{F0AD054A-D696-40F7-87E5-69474ED28EAA}" type="presParOf" srcId="{276A1E23-5945-49A8-B205-990D43FB6980}" destId="{D76C5EB5-E1AF-41B2-859B-EEED895DEA30}" srcOrd="1" destOrd="0" presId="urn:microsoft.com/office/officeart/2005/8/layout/list1"/>
    <dgm:cxn modelId="{69B36E69-50BB-479B-8B73-27417647ACAF}" type="presParOf" srcId="{EB42F8E6-F60F-40B0-B2B2-A3D2A5ABD5AD}" destId="{BB6D1C18-120A-4808-97ED-E19578356283}" srcOrd="1" destOrd="0" presId="urn:microsoft.com/office/officeart/2005/8/layout/list1"/>
    <dgm:cxn modelId="{49F27249-9B97-481B-920E-6868A7671632}" type="presParOf" srcId="{EB42F8E6-F60F-40B0-B2B2-A3D2A5ABD5AD}" destId="{4F222192-D453-4B4A-843F-4A72AC6E16A2}" srcOrd="2" destOrd="0" presId="urn:microsoft.com/office/officeart/2005/8/layout/list1"/>
    <dgm:cxn modelId="{2ADDFB20-9689-4850-BDCB-B59A33D7CB62}" type="presParOf" srcId="{EB42F8E6-F60F-40B0-B2B2-A3D2A5ABD5AD}" destId="{0FC6646E-8C97-4DB0-AD69-CD3768AE9DFB}" srcOrd="3" destOrd="0" presId="urn:microsoft.com/office/officeart/2005/8/layout/list1"/>
    <dgm:cxn modelId="{16E88C5A-D86E-4E5A-80D0-E628398DC2A5}" type="presParOf" srcId="{EB42F8E6-F60F-40B0-B2B2-A3D2A5ABD5AD}" destId="{F2C78933-1051-4B73-A93F-CEF01DE9A5DB}" srcOrd="4" destOrd="0" presId="urn:microsoft.com/office/officeart/2005/8/layout/list1"/>
    <dgm:cxn modelId="{CDC40779-FAD9-40A8-8FCE-9396A88095F9}" type="presParOf" srcId="{F2C78933-1051-4B73-A93F-CEF01DE9A5DB}" destId="{4ACD8D13-B668-4D40-954D-8E8F9AD5CE64}" srcOrd="0" destOrd="0" presId="urn:microsoft.com/office/officeart/2005/8/layout/list1"/>
    <dgm:cxn modelId="{B1E2E5A6-72D9-4FCC-873A-CB7F28AFABCC}" type="presParOf" srcId="{F2C78933-1051-4B73-A93F-CEF01DE9A5DB}" destId="{3CD455F3-8D55-4B90-9AE0-9D7BAA7022B6}" srcOrd="1" destOrd="0" presId="urn:microsoft.com/office/officeart/2005/8/layout/list1"/>
    <dgm:cxn modelId="{D1895BC9-B6DE-4A03-AF28-DC42EA614CDA}" type="presParOf" srcId="{EB42F8E6-F60F-40B0-B2B2-A3D2A5ABD5AD}" destId="{9708B6B6-5507-4F35-8F48-E80025428A7E}" srcOrd="5" destOrd="0" presId="urn:microsoft.com/office/officeart/2005/8/layout/list1"/>
    <dgm:cxn modelId="{1F44C999-305A-40E2-BCD0-34A1C0F83FFE}" type="presParOf" srcId="{EB42F8E6-F60F-40B0-B2B2-A3D2A5ABD5AD}" destId="{B6B79D58-ACC4-43B5-B7D4-CB5B36EF88AD}" srcOrd="6" destOrd="0" presId="urn:microsoft.com/office/officeart/2005/8/layout/list1"/>
    <dgm:cxn modelId="{2A5ACB0D-6035-4B4C-894C-8CD7AB0C4FB9}" type="presParOf" srcId="{EB42F8E6-F60F-40B0-B2B2-A3D2A5ABD5AD}" destId="{7C1E5307-EAF9-4E1A-B3B9-F87CA66381CD}" srcOrd="7" destOrd="0" presId="urn:microsoft.com/office/officeart/2005/8/layout/list1"/>
    <dgm:cxn modelId="{9BD6DEE5-9FD7-4EC3-A048-D4964B249A26}" type="presParOf" srcId="{EB42F8E6-F60F-40B0-B2B2-A3D2A5ABD5AD}" destId="{75E6ACD6-EEEA-4AB7-BFC2-C095DDD69A57}" srcOrd="8" destOrd="0" presId="urn:microsoft.com/office/officeart/2005/8/layout/list1"/>
    <dgm:cxn modelId="{1A08A316-0BE7-4AD3-80B8-26A99B316938}" type="presParOf" srcId="{75E6ACD6-EEEA-4AB7-BFC2-C095DDD69A57}" destId="{612D9C34-24FE-4958-8A27-EE890142D424}" srcOrd="0" destOrd="0" presId="urn:microsoft.com/office/officeart/2005/8/layout/list1"/>
    <dgm:cxn modelId="{C0A5C3BA-FF6B-44D4-8D62-899B2F9B18BA}" type="presParOf" srcId="{75E6ACD6-EEEA-4AB7-BFC2-C095DDD69A57}" destId="{179FDEF8-D7CD-427A-B285-EE879B8EA4D2}" srcOrd="1" destOrd="0" presId="urn:microsoft.com/office/officeart/2005/8/layout/list1"/>
    <dgm:cxn modelId="{26B5166E-2767-44A9-8C67-04D6AD12295A}" type="presParOf" srcId="{EB42F8E6-F60F-40B0-B2B2-A3D2A5ABD5AD}" destId="{709135BA-071B-49E0-B694-5AD77BEB9D03}" srcOrd="9" destOrd="0" presId="urn:microsoft.com/office/officeart/2005/8/layout/list1"/>
    <dgm:cxn modelId="{9EE795CD-E004-404A-B264-3C064B8B5BE0}" type="presParOf" srcId="{EB42F8E6-F60F-40B0-B2B2-A3D2A5ABD5AD}" destId="{FC0D32A5-9D58-490E-A8D1-BE503E2D5B18}" srcOrd="10" destOrd="0" presId="urn:microsoft.com/office/officeart/2005/8/layout/list1"/>
    <dgm:cxn modelId="{D07D0647-B335-4059-9245-EAC20C2C628B}" type="presParOf" srcId="{EB42F8E6-F60F-40B0-B2B2-A3D2A5ABD5AD}" destId="{D6BAC78F-E18E-45E0-B565-19F21C322375}" srcOrd="11" destOrd="0" presId="urn:microsoft.com/office/officeart/2005/8/layout/list1"/>
    <dgm:cxn modelId="{83A1FB91-4F84-4C88-A0B1-B161C5D06F9C}" type="presParOf" srcId="{EB42F8E6-F60F-40B0-B2B2-A3D2A5ABD5AD}" destId="{D0B04DB3-AC6E-4F2D-85AC-892F8153A999}" srcOrd="12" destOrd="0" presId="urn:microsoft.com/office/officeart/2005/8/layout/list1"/>
    <dgm:cxn modelId="{23D3CBF8-EE58-447A-8C82-3A0FC89D2371}" type="presParOf" srcId="{D0B04DB3-AC6E-4F2D-85AC-892F8153A999}" destId="{7373C091-728A-47D1-9EEB-C76590FA7FED}" srcOrd="0" destOrd="0" presId="urn:microsoft.com/office/officeart/2005/8/layout/list1"/>
    <dgm:cxn modelId="{8748A63F-B6EF-47D0-877A-4CCCDC6CE6A0}" type="presParOf" srcId="{D0B04DB3-AC6E-4F2D-85AC-892F8153A999}" destId="{165D3DDC-7096-4D3E-B5C0-86E4F1E8709D}" srcOrd="1" destOrd="0" presId="urn:microsoft.com/office/officeart/2005/8/layout/list1"/>
    <dgm:cxn modelId="{4436EF02-D0A6-43F3-8011-73000130EFE1}" type="presParOf" srcId="{EB42F8E6-F60F-40B0-B2B2-A3D2A5ABD5AD}" destId="{82BB24F6-EB3C-49ED-8F57-EF5C9198329D}" srcOrd="13" destOrd="0" presId="urn:microsoft.com/office/officeart/2005/8/layout/list1"/>
    <dgm:cxn modelId="{030E264B-491D-4E13-9268-1277B1172B25}" type="presParOf" srcId="{EB42F8E6-F60F-40B0-B2B2-A3D2A5ABD5AD}" destId="{9103310C-A17C-4A08-8DB7-1B66388FB090}" srcOrd="14" destOrd="0" presId="urn:microsoft.com/office/officeart/2005/8/layout/list1"/>
    <dgm:cxn modelId="{4C784465-CE9D-40C3-AA8B-CE1704BB6804}" type="presParOf" srcId="{EB42F8E6-F60F-40B0-B2B2-A3D2A5ABD5AD}" destId="{6474D46A-9FFE-4236-95A0-1B85BBF438C8}" srcOrd="15" destOrd="0" presId="urn:microsoft.com/office/officeart/2005/8/layout/list1"/>
    <dgm:cxn modelId="{17FFB49C-6AB1-43E4-A8AC-10D9EE829153}" type="presParOf" srcId="{EB42F8E6-F60F-40B0-B2B2-A3D2A5ABD5AD}" destId="{6CBEF29E-71E9-4BD3-B962-5FCA9F5A9142}" srcOrd="16" destOrd="0" presId="urn:microsoft.com/office/officeart/2005/8/layout/list1"/>
    <dgm:cxn modelId="{EBCBDDCE-79DE-429B-90B1-CC218608C89B}" type="presParOf" srcId="{6CBEF29E-71E9-4BD3-B962-5FCA9F5A9142}" destId="{D68273B8-618B-48F1-9576-909F148C06F5}" srcOrd="0" destOrd="0" presId="urn:microsoft.com/office/officeart/2005/8/layout/list1"/>
    <dgm:cxn modelId="{CC499FA4-2CA7-4B10-A066-3F6879636EF4}" type="presParOf" srcId="{6CBEF29E-71E9-4BD3-B962-5FCA9F5A9142}" destId="{2DB71670-A409-4ABE-BE9F-5EEF94B7F966}" srcOrd="1" destOrd="0" presId="urn:microsoft.com/office/officeart/2005/8/layout/list1"/>
    <dgm:cxn modelId="{F70437D1-3E2C-45B6-A45E-67F31A13D854}" type="presParOf" srcId="{EB42F8E6-F60F-40B0-B2B2-A3D2A5ABD5AD}" destId="{BFF5E9C4-5B65-4A8A-B40F-983202BDE7E4}" srcOrd="17" destOrd="0" presId="urn:microsoft.com/office/officeart/2005/8/layout/list1"/>
    <dgm:cxn modelId="{ADF7B641-91FC-44A3-9A8F-D1A4AF7086CF}" type="presParOf" srcId="{EB42F8E6-F60F-40B0-B2B2-A3D2A5ABD5AD}" destId="{25A9FD29-E5A5-4594-BFD4-03E812FD8B45}" srcOrd="18"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6A7BDA4-271A-4E07-8F76-017B7EF9B6EC}" type="doc">
      <dgm:prSet loTypeId="urn:microsoft.com/office/officeart/2005/8/layout/vList4" loCatId="list" qsTypeId="urn:microsoft.com/office/officeart/2005/8/quickstyle/simple1" qsCatId="simple" csTypeId="urn:microsoft.com/office/officeart/2005/8/colors/colorful1" csCatId="colorful" phldr="1"/>
      <dgm:spPr/>
      <dgm:t>
        <a:bodyPr/>
        <a:lstStyle/>
        <a:p>
          <a:endParaRPr lang="en-US"/>
        </a:p>
      </dgm:t>
    </dgm:pt>
    <dgm:pt modelId="{1FC819BC-0D44-4EA2-BB04-8901B15DBA34}">
      <dgm:prSet phldrT="[Text]" custT="1"/>
      <dgm:spPr/>
      <dgm:t>
        <a:bodyPr/>
        <a:lstStyle/>
        <a:p>
          <a:pPr algn="l"/>
          <a:r>
            <a:rPr lang="es-ES" sz="2400" b="1">
              <a:latin typeface="Tw Cen MT" panose="020B0602020104020603" pitchFamily="34" charset="0"/>
            </a:rPr>
            <a:t>Se combina con otras ayudas financieras estatales para cubrir el costo promedio de la matrícula (a tarifas públicas), algunas tarifas y una pequeña asignación de libros = a compromiso.</a:t>
          </a:r>
          <a:endParaRPr lang="en-US" sz="2400">
            <a:latin typeface="Tw Cen MT" panose="020B0602020104020603" pitchFamily="34" charset="0"/>
          </a:endParaRPr>
        </a:p>
      </dgm:t>
    </dgm:pt>
    <dgm:pt modelId="{84B5E11B-E027-4EE9-AC5F-2D6B3F8C169C}" type="parTrans" cxnId="{25C9604E-3306-46FF-BF5D-36A9A0631098}">
      <dgm:prSet/>
      <dgm:spPr/>
      <dgm:t>
        <a:bodyPr/>
        <a:lstStyle/>
        <a:p>
          <a:endParaRPr lang="en-US"/>
        </a:p>
      </dgm:t>
    </dgm:pt>
    <dgm:pt modelId="{7F66B284-5A76-4984-AD9C-082ECF183A3B}" type="sibTrans" cxnId="{25C9604E-3306-46FF-BF5D-36A9A0631098}">
      <dgm:prSet/>
      <dgm:spPr/>
      <dgm:t>
        <a:bodyPr/>
        <a:lstStyle/>
        <a:p>
          <a:endParaRPr lang="en-US"/>
        </a:p>
      </dgm:t>
    </dgm:pt>
    <dgm:pt modelId="{80CF6681-A9D7-48FB-AF6B-D6CEDDE2989A}">
      <dgm:prSet phldrT="[Text]" custT="1"/>
      <dgm:spPr/>
      <dgm:t>
        <a:bodyPr/>
        <a:lstStyle/>
        <a:p>
          <a:pPr algn="l"/>
          <a:r>
            <a:rPr lang="es-ES" sz="2400" b="1">
              <a:latin typeface="Tw Cen MT" panose="020B0602020104020603" pitchFamily="34" charset="0"/>
            </a:rPr>
            <a:t>Se puede utilizar en más de 65 colegios y universidades públicas y privadas de dos a cuatro años.</a:t>
          </a:r>
          <a:endParaRPr lang="en-US" sz="2400" b="1">
            <a:latin typeface="Tw Cen MT" panose="020B0602020104020603" pitchFamily="34" charset="0"/>
          </a:endParaRPr>
        </a:p>
      </dgm:t>
    </dgm:pt>
    <dgm:pt modelId="{582AAA5E-72C7-4247-A179-0161B2F70C33}" type="parTrans" cxnId="{272462AE-0DD8-4FFA-A7AB-0BCCF426A996}">
      <dgm:prSet/>
      <dgm:spPr/>
      <dgm:t>
        <a:bodyPr/>
        <a:lstStyle/>
        <a:p>
          <a:endParaRPr lang="en-US"/>
        </a:p>
      </dgm:t>
    </dgm:pt>
    <dgm:pt modelId="{69EB67BA-7473-416E-A781-C77396CC0B5E}" type="sibTrans" cxnId="{272462AE-0DD8-4FFA-A7AB-0BCCF426A996}">
      <dgm:prSet/>
      <dgm:spPr/>
      <dgm:t>
        <a:bodyPr/>
        <a:lstStyle/>
        <a:p>
          <a:endParaRPr lang="en-US"/>
        </a:p>
      </dgm:t>
    </dgm:pt>
    <dgm:pt modelId="{DD2B1303-70B8-49C0-9DF9-E590CD277A7B}" type="pres">
      <dgm:prSet presAssocID="{96A7BDA4-271A-4E07-8F76-017B7EF9B6EC}" presName="linear" presStyleCnt="0">
        <dgm:presLayoutVars>
          <dgm:dir/>
          <dgm:resizeHandles val="exact"/>
        </dgm:presLayoutVars>
      </dgm:prSet>
      <dgm:spPr/>
    </dgm:pt>
    <dgm:pt modelId="{DA842161-B6BB-43D4-B6E2-0C1D1BC29C80}" type="pres">
      <dgm:prSet presAssocID="{1FC819BC-0D44-4EA2-BB04-8901B15DBA34}" presName="comp" presStyleCnt="0"/>
      <dgm:spPr/>
    </dgm:pt>
    <dgm:pt modelId="{EEA2DB17-2112-43FC-A132-9388CC70958C}" type="pres">
      <dgm:prSet presAssocID="{1FC819BC-0D44-4EA2-BB04-8901B15DBA34}" presName="box" presStyleLbl="node1" presStyleIdx="0" presStyleCnt="2" custScaleX="99628"/>
      <dgm:spPr/>
    </dgm:pt>
    <dgm:pt modelId="{3C518B8F-484F-482F-8D40-B5CAB51E65FE}" type="pres">
      <dgm:prSet presAssocID="{1FC819BC-0D44-4EA2-BB04-8901B15DBA34}" presName="img" presStyleLbl="fgImgPlace1" presStyleIdx="0" presStyleCnt="2" custScaleX="73074" custScaleY="47434"/>
      <dgm:spPr/>
    </dgm:pt>
    <dgm:pt modelId="{5813E988-654A-4764-8F30-A92C48225034}" type="pres">
      <dgm:prSet presAssocID="{1FC819BC-0D44-4EA2-BB04-8901B15DBA34}" presName="text" presStyleLbl="node1" presStyleIdx="0" presStyleCnt="2">
        <dgm:presLayoutVars>
          <dgm:bulletEnabled val="1"/>
        </dgm:presLayoutVars>
      </dgm:prSet>
      <dgm:spPr/>
    </dgm:pt>
    <dgm:pt modelId="{0DC7101A-D5F5-46F4-8B73-9E5125206287}" type="pres">
      <dgm:prSet presAssocID="{7F66B284-5A76-4984-AD9C-082ECF183A3B}" presName="spacer" presStyleCnt="0"/>
      <dgm:spPr/>
    </dgm:pt>
    <dgm:pt modelId="{D4DFE307-20F7-4FCC-A2CB-BDB4ECAA5917}" type="pres">
      <dgm:prSet presAssocID="{80CF6681-A9D7-48FB-AF6B-D6CEDDE2989A}" presName="comp" presStyleCnt="0"/>
      <dgm:spPr/>
    </dgm:pt>
    <dgm:pt modelId="{90BB8750-7AEB-4CEE-8D21-AADC1C207532}" type="pres">
      <dgm:prSet presAssocID="{80CF6681-A9D7-48FB-AF6B-D6CEDDE2989A}" presName="box" presStyleLbl="node1" presStyleIdx="1" presStyleCnt="2"/>
      <dgm:spPr/>
    </dgm:pt>
    <dgm:pt modelId="{284AE6AC-588C-41F5-9507-A1575D957F90}" type="pres">
      <dgm:prSet presAssocID="{80CF6681-A9D7-48FB-AF6B-D6CEDDE2989A}" presName="img" presStyleLbl="fgImgPlace1" presStyleIdx="1" presStyleCnt="2" custScaleX="73074" custScaleY="67811"/>
      <dgm:spPr/>
    </dgm:pt>
    <dgm:pt modelId="{4D0D7B43-090C-47FA-9397-A8FCD57829C5}" type="pres">
      <dgm:prSet presAssocID="{80CF6681-A9D7-48FB-AF6B-D6CEDDE2989A}" presName="text" presStyleLbl="node1" presStyleIdx="1" presStyleCnt="2">
        <dgm:presLayoutVars>
          <dgm:bulletEnabled val="1"/>
        </dgm:presLayoutVars>
      </dgm:prSet>
      <dgm:spPr/>
    </dgm:pt>
  </dgm:ptLst>
  <dgm:cxnLst>
    <dgm:cxn modelId="{761CAE00-82F2-4CB1-8406-F618E7691E28}" type="presOf" srcId="{1FC819BC-0D44-4EA2-BB04-8901B15DBA34}" destId="{EEA2DB17-2112-43FC-A132-9388CC70958C}" srcOrd="0" destOrd="0" presId="urn:microsoft.com/office/officeart/2005/8/layout/vList4"/>
    <dgm:cxn modelId="{69773B03-33CF-433E-9C8C-39B1AB5636E3}" type="presOf" srcId="{96A7BDA4-271A-4E07-8F76-017B7EF9B6EC}" destId="{DD2B1303-70B8-49C0-9DF9-E590CD277A7B}" srcOrd="0" destOrd="0" presId="urn:microsoft.com/office/officeart/2005/8/layout/vList4"/>
    <dgm:cxn modelId="{87D39318-8D50-486B-8606-C2CE023832E4}" type="presOf" srcId="{1FC819BC-0D44-4EA2-BB04-8901B15DBA34}" destId="{5813E988-654A-4764-8F30-A92C48225034}" srcOrd="1" destOrd="0" presId="urn:microsoft.com/office/officeart/2005/8/layout/vList4"/>
    <dgm:cxn modelId="{3D4FD15C-C6D8-4B11-9D99-A8DF6158C5C2}" type="presOf" srcId="{80CF6681-A9D7-48FB-AF6B-D6CEDDE2989A}" destId="{4D0D7B43-090C-47FA-9397-A8FCD57829C5}" srcOrd="1" destOrd="0" presId="urn:microsoft.com/office/officeart/2005/8/layout/vList4"/>
    <dgm:cxn modelId="{25C9604E-3306-46FF-BF5D-36A9A0631098}" srcId="{96A7BDA4-271A-4E07-8F76-017B7EF9B6EC}" destId="{1FC819BC-0D44-4EA2-BB04-8901B15DBA34}" srcOrd="0" destOrd="0" parTransId="{84B5E11B-E027-4EE9-AC5F-2D6B3F8C169C}" sibTransId="{7F66B284-5A76-4984-AD9C-082ECF183A3B}"/>
    <dgm:cxn modelId="{F5281653-F75E-4465-BAEA-7A78CF8CF4E0}" type="presOf" srcId="{80CF6681-A9D7-48FB-AF6B-D6CEDDE2989A}" destId="{90BB8750-7AEB-4CEE-8D21-AADC1C207532}" srcOrd="0" destOrd="0" presId="urn:microsoft.com/office/officeart/2005/8/layout/vList4"/>
    <dgm:cxn modelId="{272462AE-0DD8-4FFA-A7AB-0BCCF426A996}" srcId="{96A7BDA4-271A-4E07-8F76-017B7EF9B6EC}" destId="{80CF6681-A9D7-48FB-AF6B-D6CEDDE2989A}" srcOrd="1" destOrd="0" parTransId="{582AAA5E-72C7-4247-A179-0161B2F70C33}" sibTransId="{69EB67BA-7473-416E-A781-C77396CC0B5E}"/>
    <dgm:cxn modelId="{8823DE1B-A68C-4801-BF07-87E5870F49AA}" type="presParOf" srcId="{DD2B1303-70B8-49C0-9DF9-E590CD277A7B}" destId="{DA842161-B6BB-43D4-B6E2-0C1D1BC29C80}" srcOrd="0" destOrd="0" presId="urn:microsoft.com/office/officeart/2005/8/layout/vList4"/>
    <dgm:cxn modelId="{32ED0849-DBAE-4994-822B-C53703C3873C}" type="presParOf" srcId="{DA842161-B6BB-43D4-B6E2-0C1D1BC29C80}" destId="{EEA2DB17-2112-43FC-A132-9388CC70958C}" srcOrd="0" destOrd="0" presId="urn:microsoft.com/office/officeart/2005/8/layout/vList4"/>
    <dgm:cxn modelId="{6DA603A0-5167-47E2-A0B0-A0AB15083B87}" type="presParOf" srcId="{DA842161-B6BB-43D4-B6E2-0C1D1BC29C80}" destId="{3C518B8F-484F-482F-8D40-B5CAB51E65FE}" srcOrd="1" destOrd="0" presId="urn:microsoft.com/office/officeart/2005/8/layout/vList4"/>
    <dgm:cxn modelId="{661F5287-7AF2-4BD5-9B71-18DDE72B0651}" type="presParOf" srcId="{DA842161-B6BB-43D4-B6E2-0C1D1BC29C80}" destId="{5813E988-654A-4764-8F30-A92C48225034}" srcOrd="2" destOrd="0" presId="urn:microsoft.com/office/officeart/2005/8/layout/vList4"/>
    <dgm:cxn modelId="{6AF5F99E-924E-43D3-9A6D-E824147B4948}" type="presParOf" srcId="{DD2B1303-70B8-49C0-9DF9-E590CD277A7B}" destId="{0DC7101A-D5F5-46F4-8B73-9E5125206287}" srcOrd="1" destOrd="0" presId="urn:microsoft.com/office/officeart/2005/8/layout/vList4"/>
    <dgm:cxn modelId="{6F507B9D-D852-4DFE-A56A-8CB278DA1563}" type="presParOf" srcId="{DD2B1303-70B8-49C0-9DF9-E590CD277A7B}" destId="{D4DFE307-20F7-4FCC-A2CB-BDB4ECAA5917}" srcOrd="2" destOrd="0" presId="urn:microsoft.com/office/officeart/2005/8/layout/vList4"/>
    <dgm:cxn modelId="{6A2238A7-77DC-49FD-9676-990D2D4C852A}" type="presParOf" srcId="{D4DFE307-20F7-4FCC-A2CB-BDB4ECAA5917}" destId="{90BB8750-7AEB-4CEE-8D21-AADC1C207532}" srcOrd="0" destOrd="0" presId="urn:microsoft.com/office/officeart/2005/8/layout/vList4"/>
    <dgm:cxn modelId="{C04431D7-0938-4E76-9AE3-AC126A921F27}" type="presParOf" srcId="{D4DFE307-20F7-4FCC-A2CB-BDB4ECAA5917}" destId="{284AE6AC-588C-41F5-9507-A1575D957F90}" srcOrd="1" destOrd="0" presId="urn:microsoft.com/office/officeart/2005/8/layout/vList4"/>
    <dgm:cxn modelId="{E9D2E6CB-7A8B-4301-A615-1C7CC0D6AFB3}" type="presParOf" srcId="{D4DFE307-20F7-4FCC-A2CB-BDB4ECAA5917}" destId="{4D0D7B43-090C-47FA-9397-A8FCD57829C5}"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A5B5535-72D2-4E41-92A3-9157348983D7}" type="doc">
      <dgm:prSet loTypeId="urn:microsoft.com/office/officeart/2005/8/layout/default" loCatId="list" qsTypeId="urn:microsoft.com/office/officeart/2005/8/quickstyle/simple1" qsCatId="simple" csTypeId="urn:microsoft.com/office/officeart/2005/8/colors/colorful4" csCatId="colorful" phldr="1"/>
      <dgm:spPr/>
      <dgm:t>
        <a:bodyPr/>
        <a:lstStyle/>
        <a:p>
          <a:endParaRPr lang="en-US"/>
        </a:p>
      </dgm:t>
    </dgm:pt>
    <dgm:pt modelId="{D4A4D72E-4B59-4CB4-8E04-A780D9D4B258}">
      <dgm:prSet phldrT="[Text]" custT="1"/>
      <dgm:spPr/>
      <dgm:t>
        <a:bodyPr/>
        <a:lstStyle/>
        <a:p>
          <a:r>
            <a:rPr lang="en-US" sz="2800">
              <a:latin typeface="Tw Cen MT" panose="020B0602020104020603" pitchFamily="34" charset="0"/>
            </a:rPr>
            <a:t>Esta </a:t>
          </a:r>
          <a:r>
            <a:rPr lang="en-US" sz="2800" err="1">
              <a:latin typeface="Tw Cen MT" panose="020B0602020104020603" pitchFamily="34" charset="0"/>
            </a:rPr>
            <a:t>herramienta</a:t>
          </a:r>
          <a:r>
            <a:rPr lang="en-US" sz="2800">
              <a:latin typeface="Tw Cen MT" panose="020B0602020104020603" pitchFamily="34" charset="0"/>
            </a:rPr>
            <a:t> </a:t>
          </a:r>
          <a:r>
            <a:rPr lang="en-US" sz="2800" err="1">
              <a:latin typeface="Tw Cen MT" panose="020B0602020104020603" pitchFamily="34" charset="0"/>
            </a:rPr>
            <a:t>calcula</a:t>
          </a:r>
          <a:r>
            <a:rPr lang="en-US" sz="2800">
              <a:latin typeface="Tw Cen MT" panose="020B0602020104020603" pitchFamily="34" charset="0"/>
            </a:rPr>
            <a:t> </a:t>
          </a:r>
          <a:r>
            <a:rPr lang="en-US" sz="2800" err="1">
              <a:latin typeface="Tw Cen MT" panose="020B0602020104020603" pitchFamily="34" charset="0"/>
            </a:rPr>
            <a:t>los</a:t>
          </a:r>
          <a:r>
            <a:rPr lang="en-US" sz="2800">
              <a:latin typeface="Tw Cen MT" panose="020B0602020104020603" pitchFamily="34" charset="0"/>
            </a:rPr>
            <a:t> </a:t>
          </a:r>
          <a:r>
            <a:rPr lang="en-US" sz="2800" err="1">
              <a:latin typeface="Tw Cen MT" panose="020B0602020104020603" pitchFamily="34" charset="0"/>
            </a:rPr>
            <a:t>montos</a:t>
          </a:r>
          <a:r>
            <a:rPr lang="en-US" sz="2800">
              <a:latin typeface="Tw Cen MT" panose="020B0602020104020603" pitchFamily="34" charset="0"/>
            </a:rPr>
            <a:t> </a:t>
          </a:r>
          <a:r>
            <a:rPr lang="en-US" sz="2800" err="1">
              <a:latin typeface="Tw Cen MT" panose="020B0602020104020603" pitchFamily="34" charset="0"/>
            </a:rPr>
            <a:t>potenciales</a:t>
          </a:r>
          <a:r>
            <a:rPr lang="en-US" sz="2800">
              <a:latin typeface="Tw Cen MT" panose="020B0602020104020603" pitchFamily="34" charset="0"/>
            </a:rPr>
            <a:t> del Washington College Grant y </a:t>
          </a:r>
          <a:r>
            <a:rPr lang="en-US" sz="2800" err="1">
              <a:latin typeface="Tw Cen MT" panose="020B0602020104020603" pitchFamily="34" charset="0"/>
            </a:rPr>
            <a:t>los</a:t>
          </a:r>
          <a:r>
            <a:rPr lang="en-US" sz="2800">
              <a:latin typeface="Tw Cen MT" panose="020B0602020104020603" pitchFamily="34" charset="0"/>
            </a:rPr>
            <a:t> </a:t>
          </a:r>
          <a:r>
            <a:rPr lang="en-US" sz="2800" err="1">
              <a:latin typeface="Tw Cen MT" panose="020B0602020104020603" pitchFamily="34" charset="0"/>
            </a:rPr>
            <a:t>programas</a:t>
          </a:r>
          <a:r>
            <a:rPr lang="en-US" sz="2800">
              <a:latin typeface="Tw Cen MT" panose="020B0602020104020603" pitchFamily="34" charset="0"/>
            </a:rPr>
            <a:t> del Pell Grant. </a:t>
          </a:r>
        </a:p>
      </dgm:t>
    </dgm:pt>
    <dgm:pt modelId="{A2ADEC28-6C93-42BD-A174-C168ED00F1D8}" type="parTrans" cxnId="{EA8A4E21-F9BC-41E1-A8E5-D8FE371F1D60}">
      <dgm:prSet/>
      <dgm:spPr/>
      <dgm:t>
        <a:bodyPr/>
        <a:lstStyle/>
        <a:p>
          <a:endParaRPr lang="en-US"/>
        </a:p>
      </dgm:t>
    </dgm:pt>
    <dgm:pt modelId="{CDF24698-B420-480D-9F4F-BD22FC2C35A8}" type="sibTrans" cxnId="{EA8A4E21-F9BC-41E1-A8E5-D8FE371F1D60}">
      <dgm:prSet/>
      <dgm:spPr/>
      <dgm:t>
        <a:bodyPr/>
        <a:lstStyle/>
        <a:p>
          <a:endParaRPr lang="en-US"/>
        </a:p>
      </dgm:t>
    </dgm:pt>
    <dgm:pt modelId="{DFAB1132-745D-4085-A9FF-1410203565CD}">
      <dgm:prSet custT="1"/>
      <dgm:spPr/>
      <dgm:t>
        <a:bodyPr/>
        <a:lstStyle/>
        <a:p>
          <a:r>
            <a:rPr lang="en-US" sz="2800" err="1">
              <a:latin typeface="Tw Cen MT" panose="020B0602020104020603" pitchFamily="34" charset="0"/>
            </a:rPr>
            <a:t>Puede</a:t>
          </a:r>
          <a:r>
            <a:rPr lang="en-US" sz="2800">
              <a:latin typeface="Tw Cen MT" panose="020B0602020104020603" pitchFamily="34" charset="0"/>
            </a:rPr>
            <a:t> </a:t>
          </a:r>
          <a:r>
            <a:rPr lang="en-US" sz="2800" err="1">
              <a:latin typeface="Tw Cen MT" panose="020B0602020104020603" pitchFamily="34" charset="0"/>
            </a:rPr>
            <a:t>haber</a:t>
          </a:r>
          <a:r>
            <a:rPr lang="en-US" sz="2800">
              <a:latin typeface="Tw Cen MT" panose="020B0602020104020603" pitchFamily="34" charset="0"/>
            </a:rPr>
            <a:t> mas </a:t>
          </a:r>
          <a:r>
            <a:rPr lang="en-US" sz="2800" err="1">
              <a:latin typeface="Tw Cen MT" panose="020B0602020104020603" pitchFamily="34" charset="0"/>
            </a:rPr>
            <a:t>ayuda</a:t>
          </a:r>
          <a:r>
            <a:rPr lang="en-US" sz="2800">
              <a:latin typeface="Tw Cen MT" panose="020B0602020104020603" pitchFamily="34" charset="0"/>
            </a:rPr>
            <a:t> disponible a </a:t>
          </a:r>
          <a:r>
            <a:rPr lang="en-US" sz="2800" err="1">
              <a:latin typeface="Tw Cen MT" panose="020B0602020104020603" pitchFamily="34" charset="0"/>
            </a:rPr>
            <a:t>usted</a:t>
          </a:r>
          <a:r>
            <a:rPr lang="en-US" sz="2800">
              <a:latin typeface="Tw Cen MT" panose="020B0602020104020603" pitchFamily="34" charset="0"/>
            </a:rPr>
            <a:t> de </a:t>
          </a:r>
          <a:r>
            <a:rPr lang="en-US" sz="2800" err="1">
              <a:latin typeface="Tw Cen MT" panose="020B0602020104020603" pitchFamily="34" charset="0"/>
            </a:rPr>
            <a:t>otro</a:t>
          </a:r>
          <a:r>
            <a:rPr lang="en-US" sz="2800">
              <a:latin typeface="Tw Cen MT" panose="020B0602020104020603" pitchFamily="34" charset="0"/>
            </a:rPr>
            <a:t> </a:t>
          </a:r>
          <a:r>
            <a:rPr lang="en-US" sz="2800" err="1">
              <a:latin typeface="Tw Cen MT" panose="020B0602020104020603" pitchFamily="34" charset="0"/>
            </a:rPr>
            <a:t>estado</a:t>
          </a:r>
          <a:r>
            <a:rPr lang="en-US" sz="2800">
              <a:latin typeface="Tw Cen MT" panose="020B0602020104020603" pitchFamily="34" charset="0"/>
            </a:rPr>
            <a:t> o </a:t>
          </a:r>
          <a:r>
            <a:rPr lang="en-US" sz="2800" err="1">
              <a:latin typeface="Tw Cen MT" panose="020B0602020104020603" pitchFamily="34" charset="0"/>
            </a:rPr>
            <a:t>programas</a:t>
          </a:r>
          <a:r>
            <a:rPr lang="en-US" sz="2800">
              <a:latin typeface="Tw Cen MT" panose="020B0602020104020603" pitchFamily="34" charset="0"/>
            </a:rPr>
            <a:t> federales, </a:t>
          </a:r>
          <a:r>
            <a:rPr lang="en-US" sz="2800" err="1">
              <a:latin typeface="Tw Cen MT" panose="020B0602020104020603" pitchFamily="34" charset="0"/>
            </a:rPr>
            <a:t>becas</a:t>
          </a:r>
          <a:r>
            <a:rPr lang="en-US" sz="2800">
              <a:latin typeface="Tw Cen MT" panose="020B0602020104020603" pitchFamily="34" charset="0"/>
            </a:rPr>
            <a:t> </a:t>
          </a:r>
          <a:r>
            <a:rPr lang="en-US" sz="2800" err="1">
              <a:latin typeface="Tw Cen MT" panose="020B0602020104020603" pitchFamily="34" charset="0"/>
            </a:rPr>
            <a:t>privadas</a:t>
          </a:r>
          <a:r>
            <a:rPr lang="en-US" sz="2800">
              <a:latin typeface="Tw Cen MT" panose="020B0602020104020603" pitchFamily="34" charset="0"/>
            </a:rPr>
            <a:t>, o </a:t>
          </a:r>
          <a:r>
            <a:rPr lang="en-US" sz="2800" err="1">
              <a:latin typeface="Tw Cen MT" panose="020B0602020104020603" pitchFamily="34" charset="0"/>
            </a:rPr>
            <a:t>directamente</a:t>
          </a:r>
          <a:r>
            <a:rPr lang="en-US" sz="2800">
              <a:latin typeface="Tw Cen MT" panose="020B0602020104020603" pitchFamily="34" charset="0"/>
            </a:rPr>
            <a:t> del colegio que </a:t>
          </a:r>
          <a:r>
            <a:rPr lang="en-US" sz="2800" err="1">
              <a:latin typeface="Tw Cen MT" panose="020B0602020104020603" pitchFamily="34" charset="0"/>
            </a:rPr>
            <a:t>asiste</a:t>
          </a:r>
          <a:r>
            <a:rPr lang="en-US" sz="2800">
              <a:latin typeface="Tw Cen MT" panose="020B0602020104020603" pitchFamily="34" charset="0"/>
            </a:rPr>
            <a:t>. </a:t>
          </a:r>
        </a:p>
      </dgm:t>
    </dgm:pt>
    <dgm:pt modelId="{CEB51E57-1C85-4835-8EAB-3FCBEF683A9F}" type="parTrans" cxnId="{1EA891B3-FDFE-4BD8-A42F-AA26D993C6BF}">
      <dgm:prSet/>
      <dgm:spPr/>
      <dgm:t>
        <a:bodyPr/>
        <a:lstStyle/>
        <a:p>
          <a:endParaRPr lang="en-US"/>
        </a:p>
      </dgm:t>
    </dgm:pt>
    <dgm:pt modelId="{6DDEC01C-6F3E-4265-AD85-BFAEFD167698}" type="sibTrans" cxnId="{1EA891B3-FDFE-4BD8-A42F-AA26D993C6BF}">
      <dgm:prSet/>
      <dgm:spPr/>
      <dgm:t>
        <a:bodyPr/>
        <a:lstStyle/>
        <a:p>
          <a:endParaRPr lang="en-US"/>
        </a:p>
      </dgm:t>
    </dgm:pt>
    <dgm:pt modelId="{C04A3E8C-9C54-43CA-82BB-B5CBFCED9B8C}">
      <dgm:prSet custT="1"/>
      <dgm:spPr/>
      <dgm:t>
        <a:bodyPr/>
        <a:lstStyle/>
        <a:p>
          <a:r>
            <a:rPr lang="en-US" sz="2800" b="0" i="0">
              <a:latin typeface="Tw Cen MT" panose="020B0602020104020603" pitchFamily="34" charset="0"/>
            </a:rPr>
            <a:t>La </a:t>
          </a:r>
          <a:r>
            <a:rPr lang="en-US" sz="2800" b="0" i="0" err="1">
              <a:latin typeface="Tw Cen MT" panose="020B0602020104020603" pitchFamily="34" charset="0"/>
            </a:rPr>
            <a:t>única</a:t>
          </a:r>
          <a:r>
            <a:rPr lang="en-US" sz="2800" b="0" i="0">
              <a:latin typeface="Tw Cen MT" panose="020B0602020104020603" pitchFamily="34" charset="0"/>
            </a:rPr>
            <a:t> </a:t>
          </a:r>
          <a:r>
            <a:rPr lang="en-US" sz="2800" b="0" i="0" err="1">
              <a:latin typeface="Tw Cen MT" panose="020B0602020104020603" pitchFamily="34" charset="0"/>
            </a:rPr>
            <a:t>manera</a:t>
          </a:r>
          <a:r>
            <a:rPr lang="en-US" sz="2800" b="0" i="0">
              <a:latin typeface="Tw Cen MT" panose="020B0602020104020603" pitchFamily="34" charset="0"/>
            </a:rPr>
            <a:t> de saber </a:t>
          </a:r>
          <a:r>
            <a:rPr lang="en-US" sz="2800" b="0" i="0" err="1">
              <a:latin typeface="Tw Cen MT" panose="020B0602020104020603" pitchFamily="34" charset="0"/>
            </a:rPr>
            <a:t>cuánta</a:t>
          </a:r>
          <a:r>
            <a:rPr lang="en-US" sz="2800" b="0" i="0">
              <a:latin typeface="Tw Cen MT" panose="020B0602020104020603" pitchFamily="34" charset="0"/>
            </a:rPr>
            <a:t> </a:t>
          </a:r>
          <a:r>
            <a:rPr lang="en-US" sz="2800" b="0" i="0" err="1">
              <a:latin typeface="Tw Cen MT" panose="020B0602020104020603" pitchFamily="34" charset="0"/>
            </a:rPr>
            <a:t>ayuda</a:t>
          </a:r>
          <a:r>
            <a:rPr lang="en-US" sz="2800" b="0" i="0">
              <a:latin typeface="Tw Cen MT" panose="020B0602020104020603" pitchFamily="34" charset="0"/>
            </a:rPr>
            <a:t> </a:t>
          </a:r>
          <a:r>
            <a:rPr lang="en-US" sz="2800" b="0" i="0" err="1">
              <a:latin typeface="Tw Cen MT" panose="020B0602020104020603" pitchFamily="34" charset="0"/>
            </a:rPr>
            <a:t>financiera</a:t>
          </a:r>
          <a:r>
            <a:rPr lang="en-US" sz="2800" b="0" i="0">
              <a:latin typeface="Tw Cen MT" panose="020B0602020104020603" pitchFamily="34" charset="0"/>
            </a:rPr>
            <a:t> </a:t>
          </a:r>
          <a:r>
            <a:rPr lang="en-US" sz="2800" b="0" i="0" err="1">
              <a:latin typeface="Tw Cen MT" panose="020B0602020104020603" pitchFamily="34" charset="0"/>
            </a:rPr>
            <a:t>puede</a:t>
          </a:r>
          <a:r>
            <a:rPr lang="en-US" sz="2800" b="0" i="0">
              <a:latin typeface="Tw Cen MT" panose="020B0602020104020603" pitchFamily="34" charset="0"/>
            </a:rPr>
            <a:t> </a:t>
          </a:r>
          <a:r>
            <a:rPr lang="en-US" sz="2800" b="0" i="0" err="1">
              <a:latin typeface="Tw Cen MT" panose="020B0602020104020603" pitchFamily="34" charset="0"/>
            </a:rPr>
            <a:t>recibir</a:t>
          </a:r>
          <a:r>
            <a:rPr lang="en-US" sz="2800" b="0" i="0">
              <a:latin typeface="Tw Cen MT" panose="020B0602020104020603" pitchFamily="34" charset="0"/>
            </a:rPr>
            <a:t> es completer </a:t>
          </a:r>
          <a:r>
            <a:rPr lang="en-US" sz="2800" b="0" i="0" err="1">
              <a:latin typeface="Tw Cen MT" panose="020B0602020104020603" pitchFamily="34" charset="0"/>
            </a:rPr>
            <a:t>una</a:t>
          </a:r>
          <a:r>
            <a:rPr lang="en-US" sz="2800" b="0" i="0">
              <a:latin typeface="Tw Cen MT" panose="020B0602020104020603" pitchFamily="34" charset="0"/>
            </a:rPr>
            <a:t> </a:t>
          </a:r>
          <a:r>
            <a:rPr lang="en-US" sz="2800" b="0" i="0" err="1">
              <a:latin typeface="Tw Cen MT" panose="020B0602020104020603" pitchFamily="34" charset="0"/>
            </a:rPr>
            <a:t>solicitud</a:t>
          </a:r>
          <a:r>
            <a:rPr lang="en-US" sz="2800" b="0" i="0">
              <a:latin typeface="Tw Cen MT" panose="020B0602020104020603" pitchFamily="34" charset="0"/>
            </a:rPr>
            <a:t> de </a:t>
          </a:r>
          <a:r>
            <a:rPr lang="en-US" sz="2800" b="0" i="0" err="1">
              <a:latin typeface="Tw Cen MT" panose="020B0602020104020603" pitchFamily="34" charset="0"/>
            </a:rPr>
            <a:t>ayuda</a:t>
          </a:r>
          <a:r>
            <a:rPr lang="en-US" sz="2800" b="0" i="0">
              <a:latin typeface="Tw Cen MT" panose="020B0602020104020603" pitchFamily="34" charset="0"/>
            </a:rPr>
            <a:t> </a:t>
          </a:r>
          <a:r>
            <a:rPr lang="en-US" sz="2800" b="0" i="0" err="1">
              <a:latin typeface="Tw Cen MT" panose="020B0602020104020603" pitchFamily="34" charset="0"/>
            </a:rPr>
            <a:t>financiera</a:t>
          </a:r>
          <a:r>
            <a:rPr lang="en-US" sz="2800" b="0" i="0">
              <a:latin typeface="Tw Cen MT" panose="020B0602020104020603" pitchFamily="34" charset="0"/>
            </a:rPr>
            <a:t> FASFA o WASFA.</a:t>
          </a:r>
          <a:endParaRPr lang="en-US" sz="2800">
            <a:latin typeface="Tw Cen MT" panose="020B0602020104020603" pitchFamily="34" charset="0"/>
          </a:endParaRPr>
        </a:p>
      </dgm:t>
    </dgm:pt>
    <dgm:pt modelId="{37D72D9C-324C-4DDC-B237-17BA2AC64963}" type="parTrans" cxnId="{14300435-FB54-41D3-BCE3-EA612C501847}">
      <dgm:prSet/>
      <dgm:spPr/>
      <dgm:t>
        <a:bodyPr/>
        <a:lstStyle/>
        <a:p>
          <a:endParaRPr lang="en-US"/>
        </a:p>
      </dgm:t>
    </dgm:pt>
    <dgm:pt modelId="{69047336-93AD-4354-8486-65E048185652}" type="sibTrans" cxnId="{14300435-FB54-41D3-BCE3-EA612C501847}">
      <dgm:prSet/>
      <dgm:spPr/>
      <dgm:t>
        <a:bodyPr/>
        <a:lstStyle/>
        <a:p>
          <a:endParaRPr lang="en-US"/>
        </a:p>
      </dgm:t>
    </dgm:pt>
    <dgm:pt modelId="{57B868E6-374F-46A4-BDF8-798F3C5C9D84}" type="pres">
      <dgm:prSet presAssocID="{FA5B5535-72D2-4E41-92A3-9157348983D7}" presName="diagram" presStyleCnt="0">
        <dgm:presLayoutVars>
          <dgm:dir/>
          <dgm:resizeHandles val="exact"/>
        </dgm:presLayoutVars>
      </dgm:prSet>
      <dgm:spPr/>
    </dgm:pt>
    <dgm:pt modelId="{F7E5D955-CF20-4F39-848A-ABA2A4ECD4D7}" type="pres">
      <dgm:prSet presAssocID="{D4A4D72E-4B59-4CB4-8E04-A780D9D4B258}" presName="node" presStyleLbl="node1" presStyleIdx="0" presStyleCnt="3" custScaleX="255370">
        <dgm:presLayoutVars>
          <dgm:bulletEnabled val="1"/>
        </dgm:presLayoutVars>
      </dgm:prSet>
      <dgm:spPr/>
    </dgm:pt>
    <dgm:pt modelId="{23E25A98-554E-4305-A0DB-DBEBF760C9F1}" type="pres">
      <dgm:prSet presAssocID="{CDF24698-B420-480D-9F4F-BD22FC2C35A8}" presName="sibTrans" presStyleCnt="0"/>
      <dgm:spPr/>
    </dgm:pt>
    <dgm:pt modelId="{5AE5D674-42EE-4AD5-974A-CA97D275C5DE}" type="pres">
      <dgm:prSet presAssocID="{DFAB1132-745D-4085-A9FF-1410203565CD}" presName="node" presStyleLbl="node1" presStyleIdx="1" presStyleCnt="3" custScaleX="259992" custScaleY="112266">
        <dgm:presLayoutVars>
          <dgm:bulletEnabled val="1"/>
        </dgm:presLayoutVars>
      </dgm:prSet>
      <dgm:spPr/>
    </dgm:pt>
    <dgm:pt modelId="{D8CC9DD2-CF21-4058-A7D7-D8C0F87AE9C7}" type="pres">
      <dgm:prSet presAssocID="{6DDEC01C-6F3E-4265-AD85-BFAEFD167698}" presName="sibTrans" presStyleCnt="0"/>
      <dgm:spPr/>
    </dgm:pt>
    <dgm:pt modelId="{E227D9AE-009C-4DED-B571-C8F3FA96E7E5}" type="pres">
      <dgm:prSet presAssocID="{C04A3E8C-9C54-43CA-82BB-B5CBFCED9B8C}" presName="node" presStyleLbl="node1" presStyleIdx="2" presStyleCnt="3" custScaleX="260687">
        <dgm:presLayoutVars>
          <dgm:bulletEnabled val="1"/>
        </dgm:presLayoutVars>
      </dgm:prSet>
      <dgm:spPr/>
    </dgm:pt>
  </dgm:ptLst>
  <dgm:cxnLst>
    <dgm:cxn modelId="{271D7913-671C-4682-8673-45EC13D2AD83}" type="presOf" srcId="{FA5B5535-72D2-4E41-92A3-9157348983D7}" destId="{57B868E6-374F-46A4-BDF8-798F3C5C9D84}" srcOrd="0" destOrd="0" presId="urn:microsoft.com/office/officeart/2005/8/layout/default"/>
    <dgm:cxn modelId="{12FB1118-06B3-4CBD-8E9A-3CD1DF4E9029}" type="presOf" srcId="{C04A3E8C-9C54-43CA-82BB-B5CBFCED9B8C}" destId="{E227D9AE-009C-4DED-B571-C8F3FA96E7E5}" srcOrd="0" destOrd="0" presId="urn:microsoft.com/office/officeart/2005/8/layout/default"/>
    <dgm:cxn modelId="{EA8A4E21-F9BC-41E1-A8E5-D8FE371F1D60}" srcId="{FA5B5535-72D2-4E41-92A3-9157348983D7}" destId="{D4A4D72E-4B59-4CB4-8E04-A780D9D4B258}" srcOrd="0" destOrd="0" parTransId="{A2ADEC28-6C93-42BD-A174-C168ED00F1D8}" sibTransId="{CDF24698-B420-480D-9F4F-BD22FC2C35A8}"/>
    <dgm:cxn modelId="{14300435-FB54-41D3-BCE3-EA612C501847}" srcId="{FA5B5535-72D2-4E41-92A3-9157348983D7}" destId="{C04A3E8C-9C54-43CA-82BB-B5CBFCED9B8C}" srcOrd="2" destOrd="0" parTransId="{37D72D9C-324C-4DDC-B237-17BA2AC64963}" sibTransId="{69047336-93AD-4354-8486-65E048185652}"/>
    <dgm:cxn modelId="{1EA891B3-FDFE-4BD8-A42F-AA26D993C6BF}" srcId="{FA5B5535-72D2-4E41-92A3-9157348983D7}" destId="{DFAB1132-745D-4085-A9FF-1410203565CD}" srcOrd="1" destOrd="0" parTransId="{CEB51E57-1C85-4835-8EAB-3FCBEF683A9F}" sibTransId="{6DDEC01C-6F3E-4265-AD85-BFAEFD167698}"/>
    <dgm:cxn modelId="{CBF918CB-D87A-4E62-80B4-260AE14AF536}" type="presOf" srcId="{DFAB1132-745D-4085-A9FF-1410203565CD}" destId="{5AE5D674-42EE-4AD5-974A-CA97D275C5DE}" srcOrd="0" destOrd="0" presId="urn:microsoft.com/office/officeart/2005/8/layout/default"/>
    <dgm:cxn modelId="{07DBC7E8-E39E-4291-A663-4C289BF8FDA6}" type="presOf" srcId="{D4A4D72E-4B59-4CB4-8E04-A780D9D4B258}" destId="{F7E5D955-CF20-4F39-848A-ABA2A4ECD4D7}" srcOrd="0" destOrd="0" presId="urn:microsoft.com/office/officeart/2005/8/layout/default"/>
    <dgm:cxn modelId="{DC677EDA-ED21-4616-BEE9-297529201427}" type="presParOf" srcId="{57B868E6-374F-46A4-BDF8-798F3C5C9D84}" destId="{F7E5D955-CF20-4F39-848A-ABA2A4ECD4D7}" srcOrd="0" destOrd="0" presId="urn:microsoft.com/office/officeart/2005/8/layout/default"/>
    <dgm:cxn modelId="{D8A98D9E-A11A-462A-86B7-E5DE69DAB3E2}" type="presParOf" srcId="{57B868E6-374F-46A4-BDF8-798F3C5C9D84}" destId="{23E25A98-554E-4305-A0DB-DBEBF760C9F1}" srcOrd="1" destOrd="0" presId="urn:microsoft.com/office/officeart/2005/8/layout/default"/>
    <dgm:cxn modelId="{ED3F2339-3B22-4684-A000-E4B5CF7D156A}" type="presParOf" srcId="{57B868E6-374F-46A4-BDF8-798F3C5C9D84}" destId="{5AE5D674-42EE-4AD5-974A-CA97D275C5DE}" srcOrd="2" destOrd="0" presId="urn:microsoft.com/office/officeart/2005/8/layout/default"/>
    <dgm:cxn modelId="{F8E536BE-0B89-489C-BE5F-89F523712697}" type="presParOf" srcId="{57B868E6-374F-46A4-BDF8-798F3C5C9D84}" destId="{D8CC9DD2-CF21-4058-A7D7-D8C0F87AE9C7}" srcOrd="3" destOrd="0" presId="urn:microsoft.com/office/officeart/2005/8/layout/default"/>
    <dgm:cxn modelId="{F9A3BFFC-6827-40D9-8D6D-10209843B80E}" type="presParOf" srcId="{57B868E6-374F-46A4-BDF8-798F3C5C9D84}" destId="{E227D9AE-009C-4DED-B571-C8F3FA96E7E5}"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89A4BD5-8F16-45E9-BAF2-EA71AF70EB21}" type="doc">
      <dgm:prSet loTypeId="urn:microsoft.com/office/officeart/2005/8/layout/hList1" loCatId="list" qsTypeId="urn:microsoft.com/office/officeart/2005/8/quickstyle/simple2" qsCatId="simple" csTypeId="urn:microsoft.com/office/officeart/2005/8/colors/colorful1" csCatId="colorful" phldr="1"/>
      <dgm:spPr/>
      <dgm:t>
        <a:bodyPr/>
        <a:lstStyle/>
        <a:p>
          <a:endParaRPr lang="en-US"/>
        </a:p>
      </dgm:t>
    </dgm:pt>
    <dgm:pt modelId="{1557F0A1-92EE-466C-856F-BC8C4AC7D129}">
      <dgm:prSet phldrT="[Text]" custT="1"/>
      <dgm:spPr/>
      <dgm:t>
        <a:bodyPr/>
        <a:lstStyle/>
        <a:p>
          <a:pPr algn="ctr"/>
          <a:r>
            <a:rPr lang="en-US" sz="4400">
              <a:latin typeface="+mj-lt"/>
            </a:rPr>
            <a:t>FAFSA</a:t>
          </a:r>
        </a:p>
      </dgm:t>
    </dgm:pt>
    <dgm:pt modelId="{DE6A8F3F-E08A-4991-B449-20529FC0C781}" type="parTrans" cxnId="{E53A8EC2-3817-4FEC-AFAE-F933A889DFDF}">
      <dgm:prSet/>
      <dgm:spPr/>
      <dgm:t>
        <a:bodyPr/>
        <a:lstStyle/>
        <a:p>
          <a:endParaRPr lang="en-US"/>
        </a:p>
      </dgm:t>
    </dgm:pt>
    <dgm:pt modelId="{60D7A9B1-2A7E-4024-95E2-7C34102C449B}" type="sibTrans" cxnId="{E53A8EC2-3817-4FEC-AFAE-F933A889DFDF}">
      <dgm:prSet/>
      <dgm:spPr/>
      <dgm:t>
        <a:bodyPr/>
        <a:lstStyle/>
        <a:p>
          <a:endParaRPr lang="en-US"/>
        </a:p>
      </dgm:t>
    </dgm:pt>
    <dgm:pt modelId="{99FAB7B4-A7AC-41CE-A913-618B29B4CCF9}">
      <dgm:prSet phldrT="[Text]" custT="1"/>
      <dgm:spPr/>
      <dgm:t>
        <a:bodyPr/>
        <a:lstStyle/>
        <a:p>
          <a:r>
            <a:rPr lang="es-ES" sz="2800">
              <a:latin typeface="+mj-lt"/>
            </a:rPr>
            <a:t>Solicitud Gratuita de Ayuda Federal para Estudiantes</a:t>
          </a:r>
          <a:endParaRPr lang="en-US" sz="2800">
            <a:latin typeface="+mj-lt"/>
          </a:endParaRPr>
        </a:p>
      </dgm:t>
    </dgm:pt>
    <dgm:pt modelId="{8CA54C34-E738-4923-8AA7-F13BE773B5BA}" type="parTrans" cxnId="{1D0A5975-7DC3-4591-B3A8-10DB7DA25CAF}">
      <dgm:prSet/>
      <dgm:spPr/>
      <dgm:t>
        <a:bodyPr/>
        <a:lstStyle/>
        <a:p>
          <a:endParaRPr lang="en-US"/>
        </a:p>
      </dgm:t>
    </dgm:pt>
    <dgm:pt modelId="{4E75E81B-CEA5-409C-B39B-2B073B39016D}" type="sibTrans" cxnId="{1D0A5975-7DC3-4591-B3A8-10DB7DA25CAF}">
      <dgm:prSet/>
      <dgm:spPr/>
      <dgm:t>
        <a:bodyPr/>
        <a:lstStyle/>
        <a:p>
          <a:endParaRPr lang="en-US"/>
        </a:p>
      </dgm:t>
    </dgm:pt>
    <dgm:pt modelId="{09E41CF7-16E5-4EAA-9E56-F2F77ADEA8B5}">
      <dgm:prSet phldrT="[Text]" custT="1"/>
      <dgm:spPr/>
      <dgm:t>
        <a:bodyPr/>
        <a:lstStyle/>
        <a:p>
          <a:r>
            <a:rPr lang="en-US" sz="2800">
              <a:latin typeface="+mj-lt"/>
            </a:rPr>
            <a:t>FAFSA.gov</a:t>
          </a:r>
        </a:p>
      </dgm:t>
    </dgm:pt>
    <dgm:pt modelId="{49D5A7BE-6931-4C18-9003-D824A681A33B}" type="parTrans" cxnId="{22E90E25-26E3-475D-8D44-3AC2E98B3FA6}">
      <dgm:prSet/>
      <dgm:spPr/>
      <dgm:t>
        <a:bodyPr/>
        <a:lstStyle/>
        <a:p>
          <a:endParaRPr lang="en-US"/>
        </a:p>
      </dgm:t>
    </dgm:pt>
    <dgm:pt modelId="{9A9255E3-85FD-46EC-811A-B6756ABF1A3C}" type="sibTrans" cxnId="{22E90E25-26E3-475D-8D44-3AC2E98B3FA6}">
      <dgm:prSet/>
      <dgm:spPr/>
      <dgm:t>
        <a:bodyPr/>
        <a:lstStyle/>
        <a:p>
          <a:endParaRPr lang="en-US"/>
        </a:p>
      </dgm:t>
    </dgm:pt>
    <dgm:pt modelId="{2CA22DD1-2095-4CF7-9BB9-9FF981C7BF31}">
      <dgm:prSet phldrT="[Text]" custT="1"/>
      <dgm:spPr/>
      <dgm:t>
        <a:bodyPr/>
        <a:lstStyle/>
        <a:p>
          <a:pPr algn="ctr"/>
          <a:r>
            <a:rPr lang="en-US" sz="4400">
              <a:latin typeface="+mj-lt"/>
            </a:rPr>
            <a:t>WASFA</a:t>
          </a:r>
        </a:p>
      </dgm:t>
    </dgm:pt>
    <dgm:pt modelId="{ADAC30CF-2BA5-4E0E-8DE4-AA4CFB07A961}" type="parTrans" cxnId="{4F56C018-34C0-496B-B022-3179075CA688}">
      <dgm:prSet/>
      <dgm:spPr/>
      <dgm:t>
        <a:bodyPr/>
        <a:lstStyle/>
        <a:p>
          <a:endParaRPr lang="en-US"/>
        </a:p>
      </dgm:t>
    </dgm:pt>
    <dgm:pt modelId="{22985697-D7AF-443B-BD4E-91BC30D4886C}" type="sibTrans" cxnId="{4F56C018-34C0-496B-B022-3179075CA688}">
      <dgm:prSet/>
      <dgm:spPr/>
      <dgm:t>
        <a:bodyPr/>
        <a:lstStyle/>
        <a:p>
          <a:endParaRPr lang="en-US"/>
        </a:p>
      </dgm:t>
    </dgm:pt>
    <dgm:pt modelId="{29C43FF0-E083-4B1E-9D5A-7257B36536CD}">
      <dgm:prSet phldrT="[Text]" custT="1"/>
      <dgm:spPr/>
      <dgm:t>
        <a:bodyPr/>
        <a:lstStyle/>
        <a:p>
          <a:r>
            <a:rPr lang="es-ES" sz="2800">
              <a:latin typeface="+mj-lt"/>
            </a:rPr>
            <a:t>Solicitud de Ayuda Financiera del Estado de Washington</a:t>
          </a:r>
          <a:endParaRPr lang="en-US" sz="2800">
            <a:latin typeface="+mj-lt"/>
          </a:endParaRPr>
        </a:p>
      </dgm:t>
    </dgm:pt>
    <dgm:pt modelId="{48A3B3D7-A860-493A-A0E4-E9348CC16C27}" type="parTrans" cxnId="{484C6417-7289-4F66-88E8-F76142CA7F47}">
      <dgm:prSet/>
      <dgm:spPr/>
      <dgm:t>
        <a:bodyPr/>
        <a:lstStyle/>
        <a:p>
          <a:endParaRPr lang="en-US"/>
        </a:p>
      </dgm:t>
    </dgm:pt>
    <dgm:pt modelId="{773B4F4E-FDC1-487F-B60C-B9FEBA8CE847}" type="sibTrans" cxnId="{484C6417-7289-4F66-88E8-F76142CA7F47}">
      <dgm:prSet/>
      <dgm:spPr/>
      <dgm:t>
        <a:bodyPr/>
        <a:lstStyle/>
        <a:p>
          <a:endParaRPr lang="en-US"/>
        </a:p>
      </dgm:t>
    </dgm:pt>
    <dgm:pt modelId="{41FC21A0-9CE9-4886-9E2C-EF3378732130}">
      <dgm:prSet phldrT="[Text]" custT="1"/>
      <dgm:spPr/>
      <dgm:t>
        <a:bodyPr/>
        <a:lstStyle/>
        <a:p>
          <a:r>
            <a:rPr lang="en-US" sz="2800">
              <a:latin typeface="+mj-lt"/>
            </a:rPr>
            <a:t>wsac.wa.gov/WASFA</a:t>
          </a:r>
        </a:p>
      </dgm:t>
    </dgm:pt>
    <dgm:pt modelId="{4AA275DD-5DF5-41C4-9C00-E6080EEE2F1E}" type="parTrans" cxnId="{B0051CE6-9B39-4363-994D-901ED864E2AF}">
      <dgm:prSet/>
      <dgm:spPr/>
      <dgm:t>
        <a:bodyPr/>
        <a:lstStyle/>
        <a:p>
          <a:endParaRPr lang="en-US"/>
        </a:p>
      </dgm:t>
    </dgm:pt>
    <dgm:pt modelId="{E51558D0-BD45-4A56-B3ED-AEA694445BF3}" type="sibTrans" cxnId="{B0051CE6-9B39-4363-994D-901ED864E2AF}">
      <dgm:prSet/>
      <dgm:spPr/>
      <dgm:t>
        <a:bodyPr/>
        <a:lstStyle/>
        <a:p>
          <a:endParaRPr lang="en-US"/>
        </a:p>
      </dgm:t>
    </dgm:pt>
    <dgm:pt modelId="{C0CC851F-CDF3-4979-BA73-CA6726C3D416}" type="pres">
      <dgm:prSet presAssocID="{589A4BD5-8F16-45E9-BAF2-EA71AF70EB21}" presName="Name0" presStyleCnt="0">
        <dgm:presLayoutVars>
          <dgm:dir/>
          <dgm:animLvl val="lvl"/>
          <dgm:resizeHandles val="exact"/>
        </dgm:presLayoutVars>
      </dgm:prSet>
      <dgm:spPr/>
    </dgm:pt>
    <dgm:pt modelId="{E744B6BA-DA99-4B21-933A-22E85D5A2BE0}" type="pres">
      <dgm:prSet presAssocID="{1557F0A1-92EE-466C-856F-BC8C4AC7D129}" presName="composite" presStyleCnt="0"/>
      <dgm:spPr/>
    </dgm:pt>
    <dgm:pt modelId="{8CFE61BE-0847-4FDE-8AB8-A750B2543EE6}" type="pres">
      <dgm:prSet presAssocID="{1557F0A1-92EE-466C-856F-BC8C4AC7D129}" presName="parTx" presStyleLbl="alignNode1" presStyleIdx="0" presStyleCnt="2">
        <dgm:presLayoutVars>
          <dgm:chMax val="0"/>
          <dgm:chPref val="0"/>
          <dgm:bulletEnabled val="1"/>
        </dgm:presLayoutVars>
      </dgm:prSet>
      <dgm:spPr/>
    </dgm:pt>
    <dgm:pt modelId="{14AEABD4-9E14-47D3-B6C5-BC6867EE1DB7}" type="pres">
      <dgm:prSet presAssocID="{1557F0A1-92EE-466C-856F-BC8C4AC7D129}" presName="desTx" presStyleLbl="alignAccFollowNode1" presStyleIdx="0" presStyleCnt="2">
        <dgm:presLayoutVars>
          <dgm:bulletEnabled val="1"/>
        </dgm:presLayoutVars>
      </dgm:prSet>
      <dgm:spPr/>
    </dgm:pt>
    <dgm:pt modelId="{8C0B7AAF-9693-4D3E-94E0-79305C765628}" type="pres">
      <dgm:prSet presAssocID="{60D7A9B1-2A7E-4024-95E2-7C34102C449B}" presName="space" presStyleCnt="0"/>
      <dgm:spPr/>
    </dgm:pt>
    <dgm:pt modelId="{FC6E1393-89F3-41CE-97FD-A38DAB444DFF}" type="pres">
      <dgm:prSet presAssocID="{2CA22DD1-2095-4CF7-9BB9-9FF981C7BF31}" presName="composite" presStyleCnt="0"/>
      <dgm:spPr/>
    </dgm:pt>
    <dgm:pt modelId="{E8D16B93-82BB-4417-9D6A-BE7708DD5E5B}" type="pres">
      <dgm:prSet presAssocID="{2CA22DD1-2095-4CF7-9BB9-9FF981C7BF31}" presName="parTx" presStyleLbl="alignNode1" presStyleIdx="1" presStyleCnt="2">
        <dgm:presLayoutVars>
          <dgm:chMax val="0"/>
          <dgm:chPref val="0"/>
          <dgm:bulletEnabled val="1"/>
        </dgm:presLayoutVars>
      </dgm:prSet>
      <dgm:spPr/>
    </dgm:pt>
    <dgm:pt modelId="{8E0F0E90-230F-4D92-B12C-4BB0B3A64D97}" type="pres">
      <dgm:prSet presAssocID="{2CA22DD1-2095-4CF7-9BB9-9FF981C7BF31}" presName="desTx" presStyleLbl="alignAccFollowNode1" presStyleIdx="1" presStyleCnt="2">
        <dgm:presLayoutVars>
          <dgm:bulletEnabled val="1"/>
        </dgm:presLayoutVars>
      </dgm:prSet>
      <dgm:spPr/>
    </dgm:pt>
  </dgm:ptLst>
  <dgm:cxnLst>
    <dgm:cxn modelId="{484C6417-7289-4F66-88E8-F76142CA7F47}" srcId="{2CA22DD1-2095-4CF7-9BB9-9FF981C7BF31}" destId="{29C43FF0-E083-4B1E-9D5A-7257B36536CD}" srcOrd="0" destOrd="0" parTransId="{48A3B3D7-A860-493A-A0E4-E9348CC16C27}" sibTransId="{773B4F4E-FDC1-487F-B60C-B9FEBA8CE847}"/>
    <dgm:cxn modelId="{4F56C018-34C0-496B-B022-3179075CA688}" srcId="{589A4BD5-8F16-45E9-BAF2-EA71AF70EB21}" destId="{2CA22DD1-2095-4CF7-9BB9-9FF981C7BF31}" srcOrd="1" destOrd="0" parTransId="{ADAC30CF-2BA5-4E0E-8DE4-AA4CFB07A961}" sibTransId="{22985697-D7AF-443B-BD4E-91BC30D4886C}"/>
    <dgm:cxn modelId="{22E90E25-26E3-475D-8D44-3AC2E98B3FA6}" srcId="{1557F0A1-92EE-466C-856F-BC8C4AC7D129}" destId="{09E41CF7-16E5-4EAA-9E56-F2F77ADEA8B5}" srcOrd="1" destOrd="0" parTransId="{49D5A7BE-6931-4C18-9003-D824A681A33B}" sibTransId="{9A9255E3-85FD-46EC-811A-B6756ABF1A3C}"/>
    <dgm:cxn modelId="{ABB6B266-2E9A-4DA0-A523-2DF09038D380}" type="presOf" srcId="{589A4BD5-8F16-45E9-BAF2-EA71AF70EB21}" destId="{C0CC851F-CDF3-4979-BA73-CA6726C3D416}" srcOrd="0" destOrd="0" presId="urn:microsoft.com/office/officeart/2005/8/layout/hList1"/>
    <dgm:cxn modelId="{9AC6566D-9DBE-4C77-9924-414ED35C11BC}" type="presOf" srcId="{99FAB7B4-A7AC-41CE-A913-618B29B4CCF9}" destId="{14AEABD4-9E14-47D3-B6C5-BC6867EE1DB7}" srcOrd="0" destOrd="0" presId="urn:microsoft.com/office/officeart/2005/8/layout/hList1"/>
    <dgm:cxn modelId="{33AA3D73-2F1D-448A-935A-B8EBA77FC531}" type="presOf" srcId="{2CA22DD1-2095-4CF7-9BB9-9FF981C7BF31}" destId="{E8D16B93-82BB-4417-9D6A-BE7708DD5E5B}" srcOrd="0" destOrd="0" presId="urn:microsoft.com/office/officeart/2005/8/layout/hList1"/>
    <dgm:cxn modelId="{1D0A5975-7DC3-4591-B3A8-10DB7DA25CAF}" srcId="{1557F0A1-92EE-466C-856F-BC8C4AC7D129}" destId="{99FAB7B4-A7AC-41CE-A913-618B29B4CCF9}" srcOrd="0" destOrd="0" parTransId="{8CA54C34-E738-4923-8AA7-F13BE773B5BA}" sibTransId="{4E75E81B-CEA5-409C-B39B-2B073B39016D}"/>
    <dgm:cxn modelId="{499E559D-1AD6-4DCC-9750-018FB149A14D}" type="presOf" srcId="{41FC21A0-9CE9-4886-9E2C-EF3378732130}" destId="{8E0F0E90-230F-4D92-B12C-4BB0B3A64D97}" srcOrd="0" destOrd="1" presId="urn:microsoft.com/office/officeart/2005/8/layout/hList1"/>
    <dgm:cxn modelId="{C90F48A2-9C98-4AF5-8618-795D0F083B39}" type="presOf" srcId="{1557F0A1-92EE-466C-856F-BC8C4AC7D129}" destId="{8CFE61BE-0847-4FDE-8AB8-A750B2543EE6}" srcOrd="0" destOrd="0" presId="urn:microsoft.com/office/officeart/2005/8/layout/hList1"/>
    <dgm:cxn modelId="{E53A8EC2-3817-4FEC-AFAE-F933A889DFDF}" srcId="{589A4BD5-8F16-45E9-BAF2-EA71AF70EB21}" destId="{1557F0A1-92EE-466C-856F-BC8C4AC7D129}" srcOrd="0" destOrd="0" parTransId="{DE6A8F3F-E08A-4991-B449-20529FC0C781}" sibTransId="{60D7A9B1-2A7E-4024-95E2-7C34102C449B}"/>
    <dgm:cxn modelId="{A5167CC3-E238-4643-A9CD-6251BD5BFBAF}" type="presOf" srcId="{29C43FF0-E083-4B1E-9D5A-7257B36536CD}" destId="{8E0F0E90-230F-4D92-B12C-4BB0B3A64D97}" srcOrd="0" destOrd="0" presId="urn:microsoft.com/office/officeart/2005/8/layout/hList1"/>
    <dgm:cxn modelId="{B0051CE6-9B39-4363-994D-901ED864E2AF}" srcId="{2CA22DD1-2095-4CF7-9BB9-9FF981C7BF31}" destId="{41FC21A0-9CE9-4886-9E2C-EF3378732130}" srcOrd="1" destOrd="0" parTransId="{4AA275DD-5DF5-41C4-9C00-E6080EEE2F1E}" sibTransId="{E51558D0-BD45-4A56-B3ED-AEA694445BF3}"/>
    <dgm:cxn modelId="{C68174F0-11BA-4BFE-BEDE-180A9A6B0357}" type="presOf" srcId="{09E41CF7-16E5-4EAA-9E56-F2F77ADEA8B5}" destId="{14AEABD4-9E14-47D3-B6C5-BC6867EE1DB7}" srcOrd="0" destOrd="1" presId="urn:microsoft.com/office/officeart/2005/8/layout/hList1"/>
    <dgm:cxn modelId="{646F3FA2-B339-4288-A9F3-6549A94FFD98}" type="presParOf" srcId="{C0CC851F-CDF3-4979-BA73-CA6726C3D416}" destId="{E744B6BA-DA99-4B21-933A-22E85D5A2BE0}" srcOrd="0" destOrd="0" presId="urn:microsoft.com/office/officeart/2005/8/layout/hList1"/>
    <dgm:cxn modelId="{0ACD6E2F-4CDB-46AF-A210-9FE51A64F774}" type="presParOf" srcId="{E744B6BA-DA99-4B21-933A-22E85D5A2BE0}" destId="{8CFE61BE-0847-4FDE-8AB8-A750B2543EE6}" srcOrd="0" destOrd="0" presId="urn:microsoft.com/office/officeart/2005/8/layout/hList1"/>
    <dgm:cxn modelId="{0B0FD80D-DD80-4963-BD46-7905FDEB7F35}" type="presParOf" srcId="{E744B6BA-DA99-4B21-933A-22E85D5A2BE0}" destId="{14AEABD4-9E14-47D3-B6C5-BC6867EE1DB7}" srcOrd="1" destOrd="0" presId="urn:microsoft.com/office/officeart/2005/8/layout/hList1"/>
    <dgm:cxn modelId="{B927A77E-5C48-4297-8980-2E69901D15C9}" type="presParOf" srcId="{C0CC851F-CDF3-4979-BA73-CA6726C3D416}" destId="{8C0B7AAF-9693-4D3E-94E0-79305C765628}" srcOrd="1" destOrd="0" presId="urn:microsoft.com/office/officeart/2005/8/layout/hList1"/>
    <dgm:cxn modelId="{C04CFF62-BA1D-48F3-A1E6-97C5F4A35311}" type="presParOf" srcId="{C0CC851F-CDF3-4979-BA73-CA6726C3D416}" destId="{FC6E1393-89F3-41CE-97FD-A38DAB444DFF}" srcOrd="2" destOrd="0" presId="urn:microsoft.com/office/officeart/2005/8/layout/hList1"/>
    <dgm:cxn modelId="{ADF54001-9CA4-4AEE-9C19-F1CE1E5C7A96}" type="presParOf" srcId="{FC6E1393-89F3-41CE-97FD-A38DAB444DFF}" destId="{E8D16B93-82BB-4417-9D6A-BE7708DD5E5B}" srcOrd="0" destOrd="0" presId="urn:microsoft.com/office/officeart/2005/8/layout/hList1"/>
    <dgm:cxn modelId="{91D403C1-88D3-4A49-B897-3E2355CB7817}" type="presParOf" srcId="{FC6E1393-89F3-41CE-97FD-A38DAB444DFF}" destId="{8E0F0E90-230F-4D92-B12C-4BB0B3A64D97}" srcOrd="1" destOrd="0" presId="urn:microsoft.com/office/officeart/2005/8/layout/hList1"/>
  </dgm:cxnLst>
  <dgm:bg/>
  <dgm:whole>
    <a:ln>
      <a:solidFill>
        <a:schemeClr val="accent5">
          <a:lumMod val="20000"/>
          <a:lumOff val="80000"/>
          <a:alpha val="76000"/>
        </a:schemeClr>
      </a:solidFill>
    </a:ln>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13.xml><?xml version="1.0" encoding="utf-8"?>
<dgm:dataModel xmlns:dgm="http://schemas.openxmlformats.org/drawingml/2006/diagram" xmlns:a="http://schemas.openxmlformats.org/drawingml/2006/main">
  <dgm:ptLst>
    <dgm:pt modelId="{56D2F51B-3BC6-4CA4-B1DB-BBB987426252}" type="doc">
      <dgm:prSet loTypeId="urn:microsoft.com/office/officeart/2005/8/layout/pList2" loCatId="list" qsTypeId="urn:microsoft.com/office/officeart/2005/8/quickstyle/simple1" qsCatId="simple" csTypeId="urn:microsoft.com/office/officeart/2005/8/colors/accent1_2" csCatId="accent1" phldr="1"/>
      <dgm:spPr/>
    </dgm:pt>
    <dgm:pt modelId="{95020CAF-9298-4829-AC0B-B506C6572929}">
      <dgm:prSet phldrT="[Text]"/>
      <dgm:spPr/>
      <dgm:t>
        <a:bodyPr/>
        <a:lstStyle/>
        <a:p>
          <a:r>
            <a:rPr lang="en-US">
              <a:latin typeface="+mj-lt"/>
            </a:rPr>
            <a:t>Sitio Web</a:t>
          </a:r>
        </a:p>
      </dgm:t>
    </dgm:pt>
    <dgm:pt modelId="{072C7090-759F-46F5-B243-B224889AA15E}" type="parTrans" cxnId="{1DEA37F6-389D-45DE-91A9-F32AE9B3B7E6}">
      <dgm:prSet/>
      <dgm:spPr/>
      <dgm:t>
        <a:bodyPr/>
        <a:lstStyle/>
        <a:p>
          <a:endParaRPr lang="en-US"/>
        </a:p>
      </dgm:t>
    </dgm:pt>
    <dgm:pt modelId="{73F21DFF-757B-4C46-B55F-557831AE564A}" type="sibTrans" cxnId="{1DEA37F6-389D-45DE-91A9-F32AE9B3B7E6}">
      <dgm:prSet/>
      <dgm:spPr/>
      <dgm:t>
        <a:bodyPr/>
        <a:lstStyle/>
        <a:p>
          <a:endParaRPr lang="en-US"/>
        </a:p>
      </dgm:t>
    </dgm:pt>
    <dgm:pt modelId="{46EAEBAB-1BCF-4498-A44F-9023DEE61B43}">
      <dgm:prSet phldrT="[Text]"/>
      <dgm:spPr/>
      <dgm:t>
        <a:bodyPr/>
        <a:lstStyle/>
        <a:p>
          <a:r>
            <a:rPr lang="en-US">
              <a:latin typeface="+mj-lt"/>
            </a:rPr>
            <a:t>FAFSA en </a:t>
          </a:r>
          <a:r>
            <a:rPr lang="en-US" err="1">
              <a:latin typeface="+mj-lt"/>
            </a:rPr>
            <a:t>Formulario</a:t>
          </a:r>
          <a:r>
            <a:rPr lang="en-US">
              <a:latin typeface="+mj-lt"/>
            </a:rPr>
            <a:t> de </a:t>
          </a:r>
          <a:r>
            <a:rPr lang="en-US" err="1">
              <a:latin typeface="+mj-lt"/>
            </a:rPr>
            <a:t>Papel</a:t>
          </a:r>
          <a:endParaRPr lang="en-US">
            <a:latin typeface="+mj-lt"/>
          </a:endParaRPr>
        </a:p>
      </dgm:t>
    </dgm:pt>
    <dgm:pt modelId="{E9805E15-025E-4265-BFEA-5832C6259FA0}" type="parTrans" cxnId="{AF084B60-3CE0-4E67-AC70-774995E536E6}">
      <dgm:prSet/>
      <dgm:spPr/>
      <dgm:t>
        <a:bodyPr/>
        <a:lstStyle/>
        <a:p>
          <a:endParaRPr lang="en-US"/>
        </a:p>
      </dgm:t>
    </dgm:pt>
    <dgm:pt modelId="{F34D50C1-8577-4FB7-B71B-AD069BAC9278}" type="sibTrans" cxnId="{AF084B60-3CE0-4E67-AC70-774995E536E6}">
      <dgm:prSet/>
      <dgm:spPr/>
      <dgm:t>
        <a:bodyPr/>
        <a:lstStyle/>
        <a:p>
          <a:endParaRPr lang="en-US"/>
        </a:p>
      </dgm:t>
    </dgm:pt>
    <dgm:pt modelId="{03BF083B-A669-4B85-8660-EE6C76BB50E4}" type="pres">
      <dgm:prSet presAssocID="{56D2F51B-3BC6-4CA4-B1DB-BBB987426252}" presName="Name0" presStyleCnt="0">
        <dgm:presLayoutVars>
          <dgm:dir/>
          <dgm:resizeHandles val="exact"/>
        </dgm:presLayoutVars>
      </dgm:prSet>
      <dgm:spPr/>
    </dgm:pt>
    <dgm:pt modelId="{E5585F1D-8AAD-459C-924B-3BAA73EA1E3C}" type="pres">
      <dgm:prSet presAssocID="{56D2F51B-3BC6-4CA4-B1DB-BBB987426252}" presName="bkgdShp" presStyleLbl="alignAccFollowNode1" presStyleIdx="0" presStyleCnt="1"/>
      <dgm:spPr/>
    </dgm:pt>
    <dgm:pt modelId="{901D9084-9BD2-4893-8B3F-CC9BE2795B89}" type="pres">
      <dgm:prSet presAssocID="{56D2F51B-3BC6-4CA4-B1DB-BBB987426252}" presName="linComp" presStyleCnt="0"/>
      <dgm:spPr/>
    </dgm:pt>
    <dgm:pt modelId="{0FC546EA-9111-4405-B8AB-E87BAF642365}" type="pres">
      <dgm:prSet presAssocID="{95020CAF-9298-4829-AC0B-B506C6572929}" presName="compNode" presStyleCnt="0"/>
      <dgm:spPr/>
    </dgm:pt>
    <dgm:pt modelId="{DFFECEBC-F605-45F1-8562-1778B72C7A20}" type="pres">
      <dgm:prSet presAssocID="{95020CAF-9298-4829-AC0B-B506C6572929}" presName="node" presStyleLbl="node1" presStyleIdx="0" presStyleCnt="2">
        <dgm:presLayoutVars>
          <dgm:bulletEnabled val="1"/>
        </dgm:presLayoutVars>
      </dgm:prSet>
      <dgm:spPr/>
    </dgm:pt>
    <dgm:pt modelId="{8AE56D5F-58D0-4E82-B318-482FF280E147}" type="pres">
      <dgm:prSet presAssocID="{95020CAF-9298-4829-AC0B-B506C6572929}" presName="invisiNode" presStyleLbl="node1" presStyleIdx="0" presStyleCnt="2"/>
      <dgm:spPr/>
    </dgm:pt>
    <dgm:pt modelId="{BDF3C3A0-D6C6-4E02-8157-5788C785642A}" type="pres">
      <dgm:prSet presAssocID="{95020CAF-9298-4829-AC0B-B506C6572929}" presName="imagNode" presStyleLbl="fgImgPlace1" presStyleIdx="0" presStyleCnt="2"/>
      <dgm:spPr>
        <a:blipFill rotWithShape="1">
          <a:blip xmlns:r="http://schemas.openxmlformats.org/officeDocument/2006/relationships" r:embed="rId1"/>
          <a:srcRect/>
          <a:stretch>
            <a:fillRect t="-7000" b="-7000"/>
          </a:stretch>
        </a:blipFill>
      </dgm:spPr>
    </dgm:pt>
    <dgm:pt modelId="{372652BC-DC8C-412D-8044-5F435A810B8E}" type="pres">
      <dgm:prSet presAssocID="{73F21DFF-757B-4C46-B55F-557831AE564A}" presName="sibTrans" presStyleLbl="sibTrans2D1" presStyleIdx="0" presStyleCnt="0"/>
      <dgm:spPr/>
    </dgm:pt>
    <dgm:pt modelId="{E7D45B4F-8303-49DD-8235-42A49A602D7C}" type="pres">
      <dgm:prSet presAssocID="{46EAEBAB-1BCF-4498-A44F-9023DEE61B43}" presName="compNode" presStyleCnt="0"/>
      <dgm:spPr/>
    </dgm:pt>
    <dgm:pt modelId="{23088773-29F6-4D2F-B998-42CE201C1D2D}" type="pres">
      <dgm:prSet presAssocID="{46EAEBAB-1BCF-4498-A44F-9023DEE61B43}" presName="node" presStyleLbl="node1" presStyleIdx="1" presStyleCnt="2">
        <dgm:presLayoutVars>
          <dgm:bulletEnabled val="1"/>
        </dgm:presLayoutVars>
      </dgm:prSet>
      <dgm:spPr/>
    </dgm:pt>
    <dgm:pt modelId="{BB108726-D485-4D8D-ABD5-048CFA9862B7}" type="pres">
      <dgm:prSet presAssocID="{46EAEBAB-1BCF-4498-A44F-9023DEE61B43}" presName="invisiNode" presStyleLbl="node1" presStyleIdx="1" presStyleCnt="2"/>
      <dgm:spPr/>
    </dgm:pt>
    <dgm:pt modelId="{D0DD52E7-C351-4BC5-B502-5A5DBDC65451}" type="pres">
      <dgm:prSet presAssocID="{46EAEBAB-1BCF-4498-A44F-9023DEE61B43}" presName="imagNode" presStyleLbl="fgImgPlace1" presStyleIdx="1" presStyleCnt="2"/>
      <dgm:spPr>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l="-187" t="-1078" r="187" b="-32922"/>
          </a:stretch>
        </a:blipFill>
      </dgm:spPr>
    </dgm:pt>
  </dgm:ptLst>
  <dgm:cxnLst>
    <dgm:cxn modelId="{6E965534-EDAB-40B8-99B1-B6332A23E4E7}" type="presOf" srcId="{95020CAF-9298-4829-AC0B-B506C6572929}" destId="{DFFECEBC-F605-45F1-8562-1778B72C7A20}" srcOrd="0" destOrd="0" presId="urn:microsoft.com/office/officeart/2005/8/layout/pList2"/>
    <dgm:cxn modelId="{AF084B60-3CE0-4E67-AC70-774995E536E6}" srcId="{56D2F51B-3BC6-4CA4-B1DB-BBB987426252}" destId="{46EAEBAB-1BCF-4498-A44F-9023DEE61B43}" srcOrd="1" destOrd="0" parTransId="{E9805E15-025E-4265-BFEA-5832C6259FA0}" sibTransId="{F34D50C1-8577-4FB7-B71B-AD069BAC9278}"/>
    <dgm:cxn modelId="{A61B0663-47CB-45F3-AB40-6F48CEDA2BD7}" type="presOf" srcId="{46EAEBAB-1BCF-4498-A44F-9023DEE61B43}" destId="{23088773-29F6-4D2F-B998-42CE201C1D2D}" srcOrd="0" destOrd="0" presId="urn:microsoft.com/office/officeart/2005/8/layout/pList2"/>
    <dgm:cxn modelId="{F964766C-7C9C-422A-959C-6F96F1EF32CF}" type="presOf" srcId="{56D2F51B-3BC6-4CA4-B1DB-BBB987426252}" destId="{03BF083B-A669-4B85-8660-EE6C76BB50E4}" srcOrd="0" destOrd="0" presId="urn:microsoft.com/office/officeart/2005/8/layout/pList2"/>
    <dgm:cxn modelId="{7A0497B4-8444-4B5B-AC87-AA89D00859FF}" type="presOf" srcId="{73F21DFF-757B-4C46-B55F-557831AE564A}" destId="{372652BC-DC8C-412D-8044-5F435A810B8E}" srcOrd="0" destOrd="0" presId="urn:microsoft.com/office/officeart/2005/8/layout/pList2"/>
    <dgm:cxn modelId="{1DEA37F6-389D-45DE-91A9-F32AE9B3B7E6}" srcId="{56D2F51B-3BC6-4CA4-B1DB-BBB987426252}" destId="{95020CAF-9298-4829-AC0B-B506C6572929}" srcOrd="0" destOrd="0" parTransId="{072C7090-759F-46F5-B243-B224889AA15E}" sibTransId="{73F21DFF-757B-4C46-B55F-557831AE564A}"/>
    <dgm:cxn modelId="{5A20CF76-0816-4A34-93DB-0771EE47DBB4}" type="presParOf" srcId="{03BF083B-A669-4B85-8660-EE6C76BB50E4}" destId="{E5585F1D-8AAD-459C-924B-3BAA73EA1E3C}" srcOrd="0" destOrd="0" presId="urn:microsoft.com/office/officeart/2005/8/layout/pList2"/>
    <dgm:cxn modelId="{67A86B98-0C25-4967-BAAB-80C4BF38BD22}" type="presParOf" srcId="{03BF083B-A669-4B85-8660-EE6C76BB50E4}" destId="{901D9084-9BD2-4893-8B3F-CC9BE2795B89}" srcOrd="1" destOrd="0" presId="urn:microsoft.com/office/officeart/2005/8/layout/pList2"/>
    <dgm:cxn modelId="{13320FF6-53D0-4768-9CED-C24BDB4B5F64}" type="presParOf" srcId="{901D9084-9BD2-4893-8B3F-CC9BE2795B89}" destId="{0FC546EA-9111-4405-B8AB-E87BAF642365}" srcOrd="0" destOrd="0" presId="urn:microsoft.com/office/officeart/2005/8/layout/pList2"/>
    <dgm:cxn modelId="{0B2F1E67-29E4-42F0-864F-6893BAFA71B2}" type="presParOf" srcId="{0FC546EA-9111-4405-B8AB-E87BAF642365}" destId="{DFFECEBC-F605-45F1-8562-1778B72C7A20}" srcOrd="0" destOrd="0" presId="urn:microsoft.com/office/officeart/2005/8/layout/pList2"/>
    <dgm:cxn modelId="{30D59BBF-6414-4911-BBA9-404E79C1879A}" type="presParOf" srcId="{0FC546EA-9111-4405-B8AB-E87BAF642365}" destId="{8AE56D5F-58D0-4E82-B318-482FF280E147}" srcOrd="1" destOrd="0" presId="urn:microsoft.com/office/officeart/2005/8/layout/pList2"/>
    <dgm:cxn modelId="{3646D1C8-0124-4955-99AB-82ACC73BCCA7}" type="presParOf" srcId="{0FC546EA-9111-4405-B8AB-E87BAF642365}" destId="{BDF3C3A0-D6C6-4E02-8157-5788C785642A}" srcOrd="2" destOrd="0" presId="urn:microsoft.com/office/officeart/2005/8/layout/pList2"/>
    <dgm:cxn modelId="{95953D19-B4ED-43F9-B8F2-BDA75C6986FF}" type="presParOf" srcId="{901D9084-9BD2-4893-8B3F-CC9BE2795B89}" destId="{372652BC-DC8C-412D-8044-5F435A810B8E}" srcOrd="1" destOrd="0" presId="urn:microsoft.com/office/officeart/2005/8/layout/pList2"/>
    <dgm:cxn modelId="{7832A48F-B649-4905-A0D0-55BD6E65DB19}" type="presParOf" srcId="{901D9084-9BD2-4893-8B3F-CC9BE2795B89}" destId="{E7D45B4F-8303-49DD-8235-42A49A602D7C}" srcOrd="2" destOrd="0" presId="urn:microsoft.com/office/officeart/2005/8/layout/pList2"/>
    <dgm:cxn modelId="{69348A19-1F8A-4443-AB27-6B35219310ED}" type="presParOf" srcId="{E7D45B4F-8303-49DD-8235-42A49A602D7C}" destId="{23088773-29F6-4D2F-B998-42CE201C1D2D}" srcOrd="0" destOrd="0" presId="urn:microsoft.com/office/officeart/2005/8/layout/pList2"/>
    <dgm:cxn modelId="{A057F437-6206-4E00-B2A3-509A4B61E86A}" type="presParOf" srcId="{E7D45B4F-8303-49DD-8235-42A49A602D7C}" destId="{BB108726-D485-4D8D-ABD5-048CFA9862B7}" srcOrd="1" destOrd="0" presId="urn:microsoft.com/office/officeart/2005/8/layout/pList2"/>
    <dgm:cxn modelId="{BF925040-2087-48EE-A2C7-91BADD957D02}" type="presParOf" srcId="{E7D45B4F-8303-49DD-8235-42A49A602D7C}" destId="{D0DD52E7-C351-4BC5-B502-5A5DBDC65451}"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52542AA-41AF-4CAC-A874-76159F744CAD}" type="doc">
      <dgm:prSet loTypeId="urn:microsoft.com/office/officeart/2005/8/layout/pList2" loCatId="list" qsTypeId="urn:microsoft.com/office/officeart/2005/8/quickstyle/simple1" qsCatId="simple" csTypeId="urn:microsoft.com/office/officeart/2005/8/colors/accent1_2" csCatId="accent1" phldr="1"/>
      <dgm:spPr/>
    </dgm:pt>
    <dgm:pt modelId="{0AE4A5DD-FB49-4647-BCAC-AEEAE7E51791}">
      <dgm:prSet phldrT="[Text]" custT="1"/>
      <dgm:spPr/>
      <dgm:t>
        <a:bodyPr/>
        <a:lstStyle/>
        <a:p>
          <a:r>
            <a:rPr lang="en-US" sz="4900">
              <a:latin typeface="+mj-lt"/>
            </a:rPr>
            <a:t>Inglés</a:t>
          </a:r>
        </a:p>
      </dgm:t>
    </dgm:pt>
    <dgm:pt modelId="{0D025531-96FA-4939-A261-CDAF5A574790}" type="parTrans" cxnId="{91F79A6F-A628-491F-8CB2-86F778262137}">
      <dgm:prSet/>
      <dgm:spPr/>
      <dgm:t>
        <a:bodyPr/>
        <a:lstStyle/>
        <a:p>
          <a:endParaRPr lang="en-US"/>
        </a:p>
      </dgm:t>
    </dgm:pt>
    <dgm:pt modelId="{02111C45-B7EB-4286-9AB5-25039CB86E15}" type="sibTrans" cxnId="{91F79A6F-A628-491F-8CB2-86F778262137}">
      <dgm:prSet/>
      <dgm:spPr/>
      <dgm:t>
        <a:bodyPr/>
        <a:lstStyle/>
        <a:p>
          <a:endParaRPr lang="en-US"/>
        </a:p>
      </dgm:t>
    </dgm:pt>
    <dgm:pt modelId="{FEFC9C87-5C50-49BB-A02F-C04F9118B50A}">
      <dgm:prSet phldrT="[Text]" custT="1"/>
      <dgm:spPr/>
      <dgm:t>
        <a:bodyPr/>
        <a:lstStyle/>
        <a:p>
          <a:r>
            <a:rPr lang="en-US" sz="4900">
              <a:latin typeface="+mj-lt"/>
            </a:rPr>
            <a:t>Español</a:t>
          </a:r>
        </a:p>
      </dgm:t>
    </dgm:pt>
    <dgm:pt modelId="{1CFC9E98-D19F-4388-87CB-F369C801CE79}" type="parTrans" cxnId="{61ECBBF4-DC34-4FB2-B52E-BC4E0D600D08}">
      <dgm:prSet/>
      <dgm:spPr/>
      <dgm:t>
        <a:bodyPr/>
        <a:lstStyle/>
        <a:p>
          <a:endParaRPr lang="en-US"/>
        </a:p>
      </dgm:t>
    </dgm:pt>
    <dgm:pt modelId="{3616DDAE-06C9-4CDF-B580-D7E8A0D110B6}" type="sibTrans" cxnId="{61ECBBF4-DC34-4FB2-B52E-BC4E0D600D08}">
      <dgm:prSet/>
      <dgm:spPr/>
      <dgm:t>
        <a:bodyPr/>
        <a:lstStyle/>
        <a:p>
          <a:endParaRPr lang="en-US"/>
        </a:p>
      </dgm:t>
    </dgm:pt>
    <dgm:pt modelId="{D1518780-A071-4BF9-A46B-1C6E3513277C}" type="pres">
      <dgm:prSet presAssocID="{552542AA-41AF-4CAC-A874-76159F744CAD}" presName="Name0" presStyleCnt="0">
        <dgm:presLayoutVars>
          <dgm:dir/>
          <dgm:resizeHandles val="exact"/>
        </dgm:presLayoutVars>
      </dgm:prSet>
      <dgm:spPr/>
    </dgm:pt>
    <dgm:pt modelId="{ECB2A747-5CF8-41AD-B261-6CE42AAD4C64}" type="pres">
      <dgm:prSet presAssocID="{552542AA-41AF-4CAC-A874-76159F744CAD}" presName="bkgdShp" presStyleLbl="alignAccFollowNode1" presStyleIdx="0" presStyleCnt="1"/>
      <dgm:spPr/>
    </dgm:pt>
    <dgm:pt modelId="{F6214BB0-53C6-4E8D-81E5-F6E830490C98}" type="pres">
      <dgm:prSet presAssocID="{552542AA-41AF-4CAC-A874-76159F744CAD}" presName="linComp" presStyleCnt="0"/>
      <dgm:spPr/>
    </dgm:pt>
    <dgm:pt modelId="{53002075-F4D1-4E0C-88B9-299593109C50}" type="pres">
      <dgm:prSet presAssocID="{0AE4A5DD-FB49-4647-BCAC-AEEAE7E51791}" presName="compNode" presStyleCnt="0"/>
      <dgm:spPr/>
    </dgm:pt>
    <dgm:pt modelId="{42D4746E-9B73-4D2F-8B01-2CA1E456E2CE}" type="pres">
      <dgm:prSet presAssocID="{0AE4A5DD-FB49-4647-BCAC-AEEAE7E51791}" presName="node" presStyleLbl="node1" presStyleIdx="0" presStyleCnt="2" custLinFactNeighborX="240" custLinFactNeighborY="472">
        <dgm:presLayoutVars>
          <dgm:bulletEnabled val="1"/>
        </dgm:presLayoutVars>
      </dgm:prSet>
      <dgm:spPr/>
    </dgm:pt>
    <dgm:pt modelId="{75E456B9-872C-463F-AE57-05AAD79BE1C5}" type="pres">
      <dgm:prSet presAssocID="{0AE4A5DD-FB49-4647-BCAC-AEEAE7E51791}" presName="invisiNode" presStyleLbl="node1" presStyleIdx="0" presStyleCnt="2"/>
      <dgm:spPr/>
    </dgm:pt>
    <dgm:pt modelId="{41027E5C-122A-4463-BBA3-D1B5A2DF49D7}" type="pres">
      <dgm:prSet presAssocID="{0AE4A5DD-FB49-4647-BCAC-AEEAE7E51791}" presName="imagNode" presStyleLbl="fgImgPlace1" presStyleIdx="0" presStyleCnt="2"/>
      <dgm:spPr>
        <a:blipFill dpi="0" rotWithShape="1">
          <a:blip xmlns:r="http://schemas.openxmlformats.org/officeDocument/2006/relationships" r:embed="rId1"/>
          <a:srcRect/>
          <a:stretch>
            <a:fillRect l="-4045" t="838" r="45" b="-838"/>
          </a:stretch>
        </a:blipFill>
      </dgm:spPr>
    </dgm:pt>
    <dgm:pt modelId="{898A862F-D081-4E38-A1BE-267AA643B48D}" type="pres">
      <dgm:prSet presAssocID="{02111C45-B7EB-4286-9AB5-25039CB86E15}" presName="sibTrans" presStyleLbl="sibTrans2D1" presStyleIdx="0" presStyleCnt="0"/>
      <dgm:spPr/>
    </dgm:pt>
    <dgm:pt modelId="{44970EEA-F083-4446-8764-008E0F3D29DE}" type="pres">
      <dgm:prSet presAssocID="{FEFC9C87-5C50-49BB-A02F-C04F9118B50A}" presName="compNode" presStyleCnt="0"/>
      <dgm:spPr/>
    </dgm:pt>
    <dgm:pt modelId="{F366C5D4-1D35-44BE-ADB2-13E19657F39C}" type="pres">
      <dgm:prSet presAssocID="{FEFC9C87-5C50-49BB-A02F-C04F9118B50A}" presName="node" presStyleLbl="node1" presStyleIdx="1" presStyleCnt="2">
        <dgm:presLayoutVars>
          <dgm:bulletEnabled val="1"/>
        </dgm:presLayoutVars>
      </dgm:prSet>
      <dgm:spPr/>
    </dgm:pt>
    <dgm:pt modelId="{F265401D-F6B3-4896-A723-EF5FF79F14B1}" type="pres">
      <dgm:prSet presAssocID="{FEFC9C87-5C50-49BB-A02F-C04F9118B50A}" presName="invisiNode" presStyleLbl="node1" presStyleIdx="1" presStyleCnt="2"/>
      <dgm:spPr/>
    </dgm:pt>
    <dgm:pt modelId="{87713F6E-996C-4FD7-A770-BD4DC16F36BE}" type="pres">
      <dgm:prSet presAssocID="{FEFC9C87-5C50-49BB-A02F-C04F9118B50A}" presName="imagNode" presStyleLbl="fgImgPlace1" presStyleIdx="1" presStyleCnt="2"/>
      <dgm:spPr>
        <a:blipFill rotWithShape="1">
          <a:blip xmlns:r="http://schemas.openxmlformats.org/officeDocument/2006/relationships" r:embed="rId2"/>
          <a:srcRect/>
          <a:stretch>
            <a:fillRect t="-1000" b="-1000"/>
          </a:stretch>
        </a:blipFill>
      </dgm:spPr>
    </dgm:pt>
  </dgm:ptLst>
  <dgm:cxnLst>
    <dgm:cxn modelId="{503F6208-43A7-4AC7-917C-02E25AF7A4ED}" type="presOf" srcId="{FEFC9C87-5C50-49BB-A02F-C04F9118B50A}" destId="{F366C5D4-1D35-44BE-ADB2-13E19657F39C}" srcOrd="0" destOrd="0" presId="urn:microsoft.com/office/officeart/2005/8/layout/pList2"/>
    <dgm:cxn modelId="{E754A822-CC5C-4D08-837C-2EBFA59AB4D0}" type="presOf" srcId="{02111C45-B7EB-4286-9AB5-25039CB86E15}" destId="{898A862F-D081-4E38-A1BE-267AA643B48D}" srcOrd="0" destOrd="0" presId="urn:microsoft.com/office/officeart/2005/8/layout/pList2"/>
    <dgm:cxn modelId="{8A210641-9194-46FF-BFA7-CCC8507F28F9}" type="presOf" srcId="{552542AA-41AF-4CAC-A874-76159F744CAD}" destId="{D1518780-A071-4BF9-A46B-1C6E3513277C}" srcOrd="0" destOrd="0" presId="urn:microsoft.com/office/officeart/2005/8/layout/pList2"/>
    <dgm:cxn modelId="{91F79A6F-A628-491F-8CB2-86F778262137}" srcId="{552542AA-41AF-4CAC-A874-76159F744CAD}" destId="{0AE4A5DD-FB49-4647-BCAC-AEEAE7E51791}" srcOrd="0" destOrd="0" parTransId="{0D025531-96FA-4939-A261-CDAF5A574790}" sibTransId="{02111C45-B7EB-4286-9AB5-25039CB86E15}"/>
    <dgm:cxn modelId="{F1EEC0F3-B1F4-4D42-BC14-E917815977C2}" type="presOf" srcId="{0AE4A5DD-FB49-4647-BCAC-AEEAE7E51791}" destId="{42D4746E-9B73-4D2F-8B01-2CA1E456E2CE}" srcOrd="0" destOrd="0" presId="urn:microsoft.com/office/officeart/2005/8/layout/pList2"/>
    <dgm:cxn modelId="{61ECBBF4-DC34-4FB2-B52E-BC4E0D600D08}" srcId="{552542AA-41AF-4CAC-A874-76159F744CAD}" destId="{FEFC9C87-5C50-49BB-A02F-C04F9118B50A}" srcOrd="1" destOrd="0" parTransId="{1CFC9E98-D19F-4388-87CB-F369C801CE79}" sibTransId="{3616DDAE-06C9-4CDF-B580-D7E8A0D110B6}"/>
    <dgm:cxn modelId="{B69E2E67-0E61-4851-98C1-47520D829851}" type="presParOf" srcId="{D1518780-A071-4BF9-A46B-1C6E3513277C}" destId="{ECB2A747-5CF8-41AD-B261-6CE42AAD4C64}" srcOrd="0" destOrd="0" presId="urn:microsoft.com/office/officeart/2005/8/layout/pList2"/>
    <dgm:cxn modelId="{16B3DE08-EC28-4706-AEAB-D9B14034931A}" type="presParOf" srcId="{D1518780-A071-4BF9-A46B-1C6E3513277C}" destId="{F6214BB0-53C6-4E8D-81E5-F6E830490C98}" srcOrd="1" destOrd="0" presId="urn:microsoft.com/office/officeart/2005/8/layout/pList2"/>
    <dgm:cxn modelId="{15339BC1-F28D-4132-9C05-7F2C7FA339C2}" type="presParOf" srcId="{F6214BB0-53C6-4E8D-81E5-F6E830490C98}" destId="{53002075-F4D1-4E0C-88B9-299593109C50}" srcOrd="0" destOrd="0" presId="urn:microsoft.com/office/officeart/2005/8/layout/pList2"/>
    <dgm:cxn modelId="{93D99B1A-E659-4565-A1F0-F9CC0C8D4BAE}" type="presParOf" srcId="{53002075-F4D1-4E0C-88B9-299593109C50}" destId="{42D4746E-9B73-4D2F-8B01-2CA1E456E2CE}" srcOrd="0" destOrd="0" presId="urn:microsoft.com/office/officeart/2005/8/layout/pList2"/>
    <dgm:cxn modelId="{8ADB9A49-C3EC-43A1-B09A-88E2D64805CB}" type="presParOf" srcId="{53002075-F4D1-4E0C-88B9-299593109C50}" destId="{75E456B9-872C-463F-AE57-05AAD79BE1C5}" srcOrd="1" destOrd="0" presId="urn:microsoft.com/office/officeart/2005/8/layout/pList2"/>
    <dgm:cxn modelId="{21DC9D56-6095-4CFA-B21A-7BDB0CD8E7DF}" type="presParOf" srcId="{53002075-F4D1-4E0C-88B9-299593109C50}" destId="{41027E5C-122A-4463-BBA3-D1B5A2DF49D7}" srcOrd="2" destOrd="0" presId="urn:microsoft.com/office/officeart/2005/8/layout/pList2"/>
    <dgm:cxn modelId="{74F58F15-4B9B-4741-83A3-9F17FDE13ECF}" type="presParOf" srcId="{F6214BB0-53C6-4E8D-81E5-F6E830490C98}" destId="{898A862F-D081-4E38-A1BE-267AA643B48D}" srcOrd="1" destOrd="0" presId="urn:microsoft.com/office/officeart/2005/8/layout/pList2"/>
    <dgm:cxn modelId="{4D23F0D2-5E50-4967-8D86-59159EBA3764}" type="presParOf" srcId="{F6214BB0-53C6-4E8D-81E5-F6E830490C98}" destId="{44970EEA-F083-4446-8764-008E0F3D29DE}" srcOrd="2" destOrd="0" presId="urn:microsoft.com/office/officeart/2005/8/layout/pList2"/>
    <dgm:cxn modelId="{A69CD47D-8B00-4E88-81AA-90C50E380E34}" type="presParOf" srcId="{44970EEA-F083-4446-8764-008E0F3D29DE}" destId="{F366C5D4-1D35-44BE-ADB2-13E19657F39C}" srcOrd="0" destOrd="0" presId="urn:microsoft.com/office/officeart/2005/8/layout/pList2"/>
    <dgm:cxn modelId="{46971669-25A9-46B1-9C42-A723AFBBCF2F}" type="presParOf" srcId="{44970EEA-F083-4446-8764-008E0F3D29DE}" destId="{F265401D-F6B3-4896-A723-EF5FF79F14B1}" srcOrd="1" destOrd="0" presId="urn:microsoft.com/office/officeart/2005/8/layout/pList2"/>
    <dgm:cxn modelId="{B1B9902D-F6EB-4121-80B4-796B83CCA670}" type="presParOf" srcId="{44970EEA-F083-4446-8764-008E0F3D29DE}" destId="{87713F6E-996C-4FD7-A770-BD4DC16F36BE}"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CBA3AAB-0C5B-4AD6-A7BB-B1D47CC6DC6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B17CCE6-10EA-4737-B1B8-0DD2680CD46C}">
      <dgm:prSet phldrT="[Text]"/>
      <dgm:spPr/>
      <dgm:t>
        <a:bodyPr/>
        <a:lstStyle/>
        <a:p>
          <a:r>
            <a:rPr lang="en-US">
              <a:latin typeface="+mj-lt"/>
            </a:rPr>
            <a:t>Número de Seguro Social</a:t>
          </a:r>
        </a:p>
      </dgm:t>
    </dgm:pt>
    <dgm:pt modelId="{BF090EEF-4641-4541-8A6E-9036DE57139E}" type="parTrans" cxnId="{15A913E9-6B8C-42C7-A0C2-44F0BF247349}">
      <dgm:prSet/>
      <dgm:spPr/>
      <dgm:t>
        <a:bodyPr/>
        <a:lstStyle/>
        <a:p>
          <a:endParaRPr lang="en-US"/>
        </a:p>
      </dgm:t>
    </dgm:pt>
    <dgm:pt modelId="{06D257AD-489A-482B-9BF7-EC7C03223587}" type="sibTrans" cxnId="{15A913E9-6B8C-42C7-A0C2-44F0BF247349}">
      <dgm:prSet/>
      <dgm:spPr/>
      <dgm:t>
        <a:bodyPr/>
        <a:lstStyle/>
        <a:p>
          <a:endParaRPr lang="en-US"/>
        </a:p>
      </dgm:t>
    </dgm:pt>
    <dgm:pt modelId="{19AE4D1A-0C9F-4AAA-B2CD-9417E602407D}">
      <dgm:prSet phldrT="[Text]"/>
      <dgm:spPr/>
      <dgm:t>
        <a:bodyPr/>
        <a:lstStyle/>
        <a:p>
          <a:r>
            <a:rPr lang="en-US">
              <a:latin typeface="+mj-lt"/>
            </a:rPr>
            <a:t>Su Número de Teléfono y/o </a:t>
          </a:r>
          <a:r>
            <a:rPr lang="en-US" err="1">
              <a:latin typeface="+mj-lt"/>
            </a:rPr>
            <a:t>Correo</a:t>
          </a:r>
          <a:r>
            <a:rPr lang="en-US">
              <a:latin typeface="+mj-lt"/>
            </a:rPr>
            <a:t> </a:t>
          </a:r>
          <a:r>
            <a:rPr lang="en-US" err="1">
              <a:latin typeface="+mj-lt"/>
            </a:rPr>
            <a:t>Electrónico</a:t>
          </a:r>
          <a:r>
            <a:rPr lang="en-US">
              <a:latin typeface="+mj-lt"/>
            </a:rPr>
            <a:t>. </a:t>
          </a:r>
        </a:p>
      </dgm:t>
    </dgm:pt>
    <dgm:pt modelId="{00B7C11A-CA7A-4DFF-98C2-E796FF3F1317}" type="parTrans" cxnId="{FB19CB48-85F7-4C9C-8CC7-827D2F8F7F20}">
      <dgm:prSet/>
      <dgm:spPr/>
      <dgm:t>
        <a:bodyPr/>
        <a:lstStyle/>
        <a:p>
          <a:endParaRPr lang="en-US"/>
        </a:p>
      </dgm:t>
    </dgm:pt>
    <dgm:pt modelId="{8A6554B7-2093-48B0-B162-0DFD59B5D838}" type="sibTrans" cxnId="{FB19CB48-85F7-4C9C-8CC7-827D2F8F7F20}">
      <dgm:prSet/>
      <dgm:spPr/>
      <dgm:t>
        <a:bodyPr/>
        <a:lstStyle/>
        <a:p>
          <a:endParaRPr lang="en-US"/>
        </a:p>
      </dgm:t>
    </dgm:pt>
    <dgm:pt modelId="{782B06A2-8081-4B88-9E83-698BD3E922C8}" type="pres">
      <dgm:prSet presAssocID="{9CBA3AAB-0C5B-4AD6-A7BB-B1D47CC6DC6E}" presName="diagram" presStyleCnt="0">
        <dgm:presLayoutVars>
          <dgm:dir/>
          <dgm:resizeHandles val="exact"/>
        </dgm:presLayoutVars>
      </dgm:prSet>
      <dgm:spPr/>
    </dgm:pt>
    <dgm:pt modelId="{BF255428-F888-48CF-BF2C-6C25816FFFA9}" type="pres">
      <dgm:prSet presAssocID="{4B17CCE6-10EA-4737-B1B8-0DD2680CD46C}" presName="node" presStyleLbl="node1" presStyleIdx="0" presStyleCnt="2">
        <dgm:presLayoutVars>
          <dgm:bulletEnabled val="1"/>
        </dgm:presLayoutVars>
      </dgm:prSet>
      <dgm:spPr/>
    </dgm:pt>
    <dgm:pt modelId="{1018A509-0956-44B7-8767-B1DE80676640}" type="pres">
      <dgm:prSet presAssocID="{06D257AD-489A-482B-9BF7-EC7C03223587}" presName="sibTrans" presStyleCnt="0"/>
      <dgm:spPr/>
    </dgm:pt>
    <dgm:pt modelId="{06D0A693-A051-4414-8496-B52164DA914F}" type="pres">
      <dgm:prSet presAssocID="{19AE4D1A-0C9F-4AAA-B2CD-9417E602407D}" presName="node" presStyleLbl="node1" presStyleIdx="1" presStyleCnt="2">
        <dgm:presLayoutVars>
          <dgm:bulletEnabled val="1"/>
        </dgm:presLayoutVars>
      </dgm:prSet>
      <dgm:spPr/>
    </dgm:pt>
  </dgm:ptLst>
  <dgm:cxnLst>
    <dgm:cxn modelId="{2E1BFC5B-B4D9-4241-BB28-50EC4406D89F}" type="presOf" srcId="{4B17CCE6-10EA-4737-B1B8-0DD2680CD46C}" destId="{BF255428-F888-48CF-BF2C-6C25816FFFA9}" srcOrd="0" destOrd="0" presId="urn:microsoft.com/office/officeart/2005/8/layout/default"/>
    <dgm:cxn modelId="{FB19CB48-85F7-4C9C-8CC7-827D2F8F7F20}" srcId="{9CBA3AAB-0C5B-4AD6-A7BB-B1D47CC6DC6E}" destId="{19AE4D1A-0C9F-4AAA-B2CD-9417E602407D}" srcOrd="1" destOrd="0" parTransId="{00B7C11A-CA7A-4DFF-98C2-E796FF3F1317}" sibTransId="{8A6554B7-2093-48B0-B162-0DFD59B5D838}"/>
    <dgm:cxn modelId="{BC514B59-D9FA-4150-8E00-921B80C55EFA}" type="presOf" srcId="{9CBA3AAB-0C5B-4AD6-A7BB-B1D47CC6DC6E}" destId="{782B06A2-8081-4B88-9E83-698BD3E922C8}" srcOrd="0" destOrd="0" presId="urn:microsoft.com/office/officeart/2005/8/layout/default"/>
    <dgm:cxn modelId="{F8B624D5-0F07-407F-A046-FF834A5ED5B1}" type="presOf" srcId="{19AE4D1A-0C9F-4AAA-B2CD-9417E602407D}" destId="{06D0A693-A051-4414-8496-B52164DA914F}" srcOrd="0" destOrd="0" presId="urn:microsoft.com/office/officeart/2005/8/layout/default"/>
    <dgm:cxn modelId="{15A913E9-6B8C-42C7-A0C2-44F0BF247349}" srcId="{9CBA3AAB-0C5B-4AD6-A7BB-B1D47CC6DC6E}" destId="{4B17CCE6-10EA-4737-B1B8-0DD2680CD46C}" srcOrd="0" destOrd="0" parTransId="{BF090EEF-4641-4541-8A6E-9036DE57139E}" sibTransId="{06D257AD-489A-482B-9BF7-EC7C03223587}"/>
    <dgm:cxn modelId="{36FA3BE0-F0F1-4976-B2D9-97E645ED54BC}" type="presParOf" srcId="{782B06A2-8081-4B88-9E83-698BD3E922C8}" destId="{BF255428-F888-48CF-BF2C-6C25816FFFA9}" srcOrd="0" destOrd="0" presId="urn:microsoft.com/office/officeart/2005/8/layout/default"/>
    <dgm:cxn modelId="{34F7B853-55BD-4391-8C47-77B227E314A8}" type="presParOf" srcId="{782B06A2-8081-4B88-9E83-698BD3E922C8}" destId="{1018A509-0956-44B7-8767-B1DE80676640}" srcOrd="1" destOrd="0" presId="urn:microsoft.com/office/officeart/2005/8/layout/default"/>
    <dgm:cxn modelId="{D3BEDCF2-E2AE-4819-AFE9-73A7453FB04E}" type="presParOf" srcId="{782B06A2-8081-4B88-9E83-698BD3E922C8}" destId="{06D0A693-A051-4414-8496-B52164DA914F}"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CBA3AAB-0C5B-4AD6-A7BB-B1D47CC6DC6E}"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19AE4D1A-0C9F-4AAA-B2CD-9417E602407D}">
      <dgm:prSet phldrT="[Text]" custT="1"/>
      <dgm:spPr/>
      <dgm:t>
        <a:bodyPr/>
        <a:lstStyle/>
        <a:p>
          <a:r>
            <a:rPr lang="es-ES" sz="2900">
              <a:latin typeface="+mj-lt"/>
            </a:rPr>
            <a:t>Necesitarás tu propio correo electrónico.</a:t>
          </a:r>
          <a:endParaRPr lang="en-US" sz="2900">
            <a:latin typeface="+mj-lt"/>
          </a:endParaRPr>
        </a:p>
      </dgm:t>
    </dgm:pt>
    <dgm:pt modelId="{00B7C11A-CA7A-4DFF-98C2-E796FF3F1317}" type="parTrans" cxnId="{FB19CB48-85F7-4C9C-8CC7-827D2F8F7F20}">
      <dgm:prSet/>
      <dgm:spPr/>
      <dgm:t>
        <a:bodyPr/>
        <a:lstStyle/>
        <a:p>
          <a:endParaRPr lang="en-US"/>
        </a:p>
      </dgm:t>
    </dgm:pt>
    <dgm:pt modelId="{8A6554B7-2093-48B0-B162-0DFD59B5D838}" type="sibTrans" cxnId="{FB19CB48-85F7-4C9C-8CC7-827D2F8F7F20}">
      <dgm:prSet/>
      <dgm:spPr/>
      <dgm:t>
        <a:bodyPr/>
        <a:lstStyle/>
        <a:p>
          <a:endParaRPr lang="en-US"/>
        </a:p>
      </dgm:t>
    </dgm:pt>
    <dgm:pt modelId="{631F7010-CED3-4B32-AC1E-5E065AA5E1FC}">
      <dgm:prSet phldrT="[Text]" custT="1"/>
      <dgm:spPr/>
      <dgm:t>
        <a:bodyPr/>
        <a:lstStyle/>
        <a:p>
          <a:r>
            <a:rPr lang="es-ES" sz="2900">
              <a:latin typeface="+mj-lt"/>
            </a:rPr>
            <a:t>WASFA está disponible en Inglés y Español.</a:t>
          </a:r>
          <a:endParaRPr lang="en-US" sz="2900">
            <a:latin typeface="+mj-lt"/>
          </a:endParaRPr>
        </a:p>
      </dgm:t>
    </dgm:pt>
    <dgm:pt modelId="{1BDF4FFB-536E-4276-89D1-C00300D6D841}" type="parTrans" cxnId="{4C43A2AB-6C1C-457D-8D48-7E27C2F48829}">
      <dgm:prSet/>
      <dgm:spPr/>
      <dgm:t>
        <a:bodyPr/>
        <a:lstStyle/>
        <a:p>
          <a:endParaRPr lang="en-US"/>
        </a:p>
      </dgm:t>
    </dgm:pt>
    <dgm:pt modelId="{6DD34E6D-BC01-4D63-9444-5135A606E431}" type="sibTrans" cxnId="{4C43A2AB-6C1C-457D-8D48-7E27C2F48829}">
      <dgm:prSet/>
      <dgm:spPr/>
      <dgm:t>
        <a:bodyPr/>
        <a:lstStyle/>
        <a:p>
          <a:endParaRPr lang="en-US"/>
        </a:p>
      </dgm:t>
    </dgm:pt>
    <dgm:pt modelId="{9AE19A7A-AB73-499D-B80D-1702DADC2188}">
      <dgm:prSet phldrT="[Text]" custT="1"/>
      <dgm:spPr/>
      <dgm:t>
        <a:bodyPr/>
        <a:lstStyle/>
        <a:p>
          <a:r>
            <a:rPr lang="en-US" sz="2900" err="1">
              <a:latin typeface="+mj-lt"/>
            </a:rPr>
            <a:t>Necesitarás</a:t>
          </a:r>
          <a:r>
            <a:rPr lang="en-US" sz="2900">
              <a:latin typeface="+mj-lt"/>
            </a:rPr>
            <a:t> </a:t>
          </a:r>
          <a:r>
            <a:rPr lang="en-US" sz="2900" err="1">
              <a:latin typeface="+mj-lt"/>
            </a:rPr>
            <a:t>acceso</a:t>
          </a:r>
          <a:r>
            <a:rPr lang="en-US" sz="2900">
              <a:latin typeface="+mj-lt"/>
            </a:rPr>
            <a:t> al internet.</a:t>
          </a:r>
        </a:p>
      </dgm:t>
    </dgm:pt>
    <dgm:pt modelId="{850A9C2C-ED96-4857-83EE-0E911ECD028D}" type="parTrans" cxnId="{91415022-F100-4BB6-B14F-CD067A3178C3}">
      <dgm:prSet/>
      <dgm:spPr/>
      <dgm:t>
        <a:bodyPr/>
        <a:lstStyle/>
        <a:p>
          <a:endParaRPr lang="en-US"/>
        </a:p>
      </dgm:t>
    </dgm:pt>
    <dgm:pt modelId="{9C3CA09F-852E-41AC-A99D-B0B0C3BBB0D3}" type="sibTrans" cxnId="{91415022-F100-4BB6-B14F-CD067A3178C3}">
      <dgm:prSet/>
      <dgm:spPr/>
      <dgm:t>
        <a:bodyPr/>
        <a:lstStyle/>
        <a:p>
          <a:endParaRPr lang="en-US"/>
        </a:p>
      </dgm:t>
    </dgm:pt>
    <dgm:pt modelId="{782B06A2-8081-4B88-9E83-698BD3E922C8}" type="pres">
      <dgm:prSet presAssocID="{9CBA3AAB-0C5B-4AD6-A7BB-B1D47CC6DC6E}" presName="diagram" presStyleCnt="0">
        <dgm:presLayoutVars>
          <dgm:dir/>
          <dgm:resizeHandles val="exact"/>
        </dgm:presLayoutVars>
      </dgm:prSet>
      <dgm:spPr/>
    </dgm:pt>
    <dgm:pt modelId="{06D0A693-A051-4414-8496-B52164DA914F}" type="pres">
      <dgm:prSet presAssocID="{19AE4D1A-0C9F-4AAA-B2CD-9417E602407D}" presName="node" presStyleLbl="node1" presStyleIdx="0" presStyleCnt="3">
        <dgm:presLayoutVars>
          <dgm:bulletEnabled val="1"/>
        </dgm:presLayoutVars>
      </dgm:prSet>
      <dgm:spPr/>
    </dgm:pt>
    <dgm:pt modelId="{A2236BA4-0DA1-45CA-84F0-3367C78A01EF}" type="pres">
      <dgm:prSet presAssocID="{8A6554B7-2093-48B0-B162-0DFD59B5D838}" presName="sibTrans" presStyleCnt="0"/>
      <dgm:spPr/>
    </dgm:pt>
    <dgm:pt modelId="{6A19E8F0-35C1-4384-A1A4-DAD9A3F4ECE2}" type="pres">
      <dgm:prSet presAssocID="{631F7010-CED3-4B32-AC1E-5E065AA5E1FC}" presName="node" presStyleLbl="node1" presStyleIdx="1" presStyleCnt="3">
        <dgm:presLayoutVars>
          <dgm:bulletEnabled val="1"/>
        </dgm:presLayoutVars>
      </dgm:prSet>
      <dgm:spPr/>
    </dgm:pt>
    <dgm:pt modelId="{D13C04BC-EE44-492A-97FE-D524DE596683}" type="pres">
      <dgm:prSet presAssocID="{6DD34E6D-BC01-4D63-9444-5135A606E431}" presName="sibTrans" presStyleCnt="0"/>
      <dgm:spPr/>
    </dgm:pt>
    <dgm:pt modelId="{8005E11E-08E3-4868-A6C9-F4B962A0FA44}" type="pres">
      <dgm:prSet presAssocID="{9AE19A7A-AB73-499D-B80D-1702DADC2188}" presName="node" presStyleLbl="node1" presStyleIdx="2" presStyleCnt="3">
        <dgm:presLayoutVars>
          <dgm:bulletEnabled val="1"/>
        </dgm:presLayoutVars>
      </dgm:prSet>
      <dgm:spPr/>
    </dgm:pt>
  </dgm:ptLst>
  <dgm:cxnLst>
    <dgm:cxn modelId="{EA24E706-956C-4FA2-86CE-38060682762F}" type="presOf" srcId="{631F7010-CED3-4B32-AC1E-5E065AA5E1FC}" destId="{6A19E8F0-35C1-4384-A1A4-DAD9A3F4ECE2}" srcOrd="0" destOrd="0" presId="urn:microsoft.com/office/officeart/2005/8/layout/default"/>
    <dgm:cxn modelId="{91415022-F100-4BB6-B14F-CD067A3178C3}" srcId="{9CBA3AAB-0C5B-4AD6-A7BB-B1D47CC6DC6E}" destId="{9AE19A7A-AB73-499D-B80D-1702DADC2188}" srcOrd="2" destOrd="0" parTransId="{850A9C2C-ED96-4857-83EE-0E911ECD028D}" sibTransId="{9C3CA09F-852E-41AC-A99D-B0B0C3BBB0D3}"/>
    <dgm:cxn modelId="{FB19CB48-85F7-4C9C-8CC7-827D2F8F7F20}" srcId="{9CBA3AAB-0C5B-4AD6-A7BB-B1D47CC6DC6E}" destId="{19AE4D1A-0C9F-4AAA-B2CD-9417E602407D}" srcOrd="0" destOrd="0" parTransId="{00B7C11A-CA7A-4DFF-98C2-E796FF3F1317}" sibTransId="{8A6554B7-2093-48B0-B162-0DFD59B5D838}"/>
    <dgm:cxn modelId="{51F1EE71-5E3F-4EF3-8F51-E497BFA1BBC8}" type="presOf" srcId="{9AE19A7A-AB73-499D-B80D-1702DADC2188}" destId="{8005E11E-08E3-4868-A6C9-F4B962A0FA44}" srcOrd="0" destOrd="0" presId="urn:microsoft.com/office/officeart/2005/8/layout/default"/>
    <dgm:cxn modelId="{BC514B59-D9FA-4150-8E00-921B80C55EFA}" type="presOf" srcId="{9CBA3AAB-0C5B-4AD6-A7BB-B1D47CC6DC6E}" destId="{782B06A2-8081-4B88-9E83-698BD3E922C8}" srcOrd="0" destOrd="0" presId="urn:microsoft.com/office/officeart/2005/8/layout/default"/>
    <dgm:cxn modelId="{4C43A2AB-6C1C-457D-8D48-7E27C2F48829}" srcId="{9CBA3AAB-0C5B-4AD6-A7BB-B1D47CC6DC6E}" destId="{631F7010-CED3-4B32-AC1E-5E065AA5E1FC}" srcOrd="1" destOrd="0" parTransId="{1BDF4FFB-536E-4276-89D1-C00300D6D841}" sibTransId="{6DD34E6D-BC01-4D63-9444-5135A606E431}"/>
    <dgm:cxn modelId="{F8B624D5-0F07-407F-A046-FF834A5ED5B1}" type="presOf" srcId="{19AE4D1A-0C9F-4AAA-B2CD-9417E602407D}" destId="{06D0A693-A051-4414-8496-B52164DA914F}" srcOrd="0" destOrd="0" presId="urn:microsoft.com/office/officeart/2005/8/layout/default"/>
    <dgm:cxn modelId="{D3BEDCF2-E2AE-4819-AFE9-73A7453FB04E}" type="presParOf" srcId="{782B06A2-8081-4B88-9E83-698BD3E922C8}" destId="{06D0A693-A051-4414-8496-B52164DA914F}" srcOrd="0" destOrd="0" presId="urn:microsoft.com/office/officeart/2005/8/layout/default"/>
    <dgm:cxn modelId="{60E18C77-3D5D-4152-A579-71E4326614E7}" type="presParOf" srcId="{782B06A2-8081-4B88-9E83-698BD3E922C8}" destId="{A2236BA4-0DA1-45CA-84F0-3367C78A01EF}" srcOrd="1" destOrd="0" presId="urn:microsoft.com/office/officeart/2005/8/layout/default"/>
    <dgm:cxn modelId="{1CDDD6E4-EA49-4865-955B-26E0BB280440}" type="presParOf" srcId="{782B06A2-8081-4B88-9E83-698BD3E922C8}" destId="{6A19E8F0-35C1-4384-A1A4-DAD9A3F4ECE2}" srcOrd="2" destOrd="0" presId="urn:microsoft.com/office/officeart/2005/8/layout/default"/>
    <dgm:cxn modelId="{33302814-15C4-42E9-BA27-07D2C7D32DF3}" type="presParOf" srcId="{782B06A2-8081-4B88-9E83-698BD3E922C8}" destId="{D13C04BC-EE44-492A-97FE-D524DE596683}" srcOrd="3" destOrd="0" presId="urn:microsoft.com/office/officeart/2005/8/layout/default"/>
    <dgm:cxn modelId="{477FDB40-7FB0-4DEA-A11E-12E18324FAD3}" type="presParOf" srcId="{782B06A2-8081-4B88-9E83-698BD3E922C8}" destId="{8005E11E-08E3-4868-A6C9-F4B962A0FA44}" srcOrd="4"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DE0015D-AEB8-4AF2-A087-BBEBA70AD66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AEA5284-CD68-4AC9-B424-17E626515C2E}">
      <dgm:prSet phldrT="[Text]" custT="1"/>
      <dgm:spPr/>
      <dgm:t>
        <a:bodyPr/>
        <a:lstStyle/>
        <a:p>
          <a:pPr>
            <a:buNone/>
          </a:pPr>
          <a:r>
            <a:rPr lang="es-ES" sz="2400">
              <a:latin typeface="+mj-lt"/>
            </a:rPr>
            <a:t>Su licencia de conducir, o identificación estatal. (Si tienes una).</a:t>
          </a:r>
          <a:endParaRPr lang="en-US" sz="2400">
            <a:latin typeface="+mj-lt"/>
          </a:endParaRPr>
        </a:p>
      </dgm:t>
    </dgm:pt>
    <dgm:pt modelId="{5FA54A62-5404-4622-AAC8-3506A8EA8EB3}" type="parTrans" cxnId="{B6381EA6-CA16-4244-A2DC-599E436D5749}">
      <dgm:prSet/>
      <dgm:spPr/>
      <dgm:t>
        <a:bodyPr/>
        <a:lstStyle/>
        <a:p>
          <a:endParaRPr lang="en-US"/>
        </a:p>
      </dgm:t>
    </dgm:pt>
    <dgm:pt modelId="{F33B0175-05AA-4C15-8900-62A081DB14B7}" type="sibTrans" cxnId="{B6381EA6-CA16-4244-A2DC-599E436D5749}">
      <dgm:prSet/>
      <dgm:spPr/>
      <dgm:t>
        <a:bodyPr/>
        <a:lstStyle/>
        <a:p>
          <a:endParaRPr lang="en-US"/>
        </a:p>
      </dgm:t>
    </dgm:pt>
    <dgm:pt modelId="{ECE71C09-084A-41B3-86A7-9B8948FF52AA}">
      <dgm:prSet custT="1"/>
      <dgm:spPr/>
      <dgm:t>
        <a:bodyPr/>
        <a:lstStyle/>
        <a:p>
          <a:r>
            <a:rPr lang="en-US" sz="2400">
              <a:latin typeface="+mj-lt"/>
            </a:rPr>
            <a:t>Su información de ingresos.</a:t>
          </a:r>
        </a:p>
      </dgm:t>
    </dgm:pt>
    <dgm:pt modelId="{F9A0390B-EDF9-42A0-8EB6-18A87FF19FBF}" type="parTrans" cxnId="{8E90F2A1-FE95-4CFD-97FA-1B1A6F728357}">
      <dgm:prSet/>
      <dgm:spPr/>
      <dgm:t>
        <a:bodyPr/>
        <a:lstStyle/>
        <a:p>
          <a:endParaRPr lang="en-US"/>
        </a:p>
      </dgm:t>
    </dgm:pt>
    <dgm:pt modelId="{CF3D6359-92B0-4644-BDF3-72158C2F0F36}" type="sibTrans" cxnId="{8E90F2A1-FE95-4CFD-97FA-1B1A6F728357}">
      <dgm:prSet/>
      <dgm:spPr/>
      <dgm:t>
        <a:bodyPr/>
        <a:lstStyle/>
        <a:p>
          <a:endParaRPr lang="en-US"/>
        </a:p>
      </dgm:t>
    </dgm:pt>
    <dgm:pt modelId="{9CA94CBB-D31B-4B26-A356-5E904C7805E8}">
      <dgm:prSet custT="1"/>
      <dgm:spPr/>
      <dgm:t>
        <a:bodyPr/>
        <a:lstStyle/>
        <a:p>
          <a:r>
            <a:rPr lang="es-ES" sz="2400">
              <a:latin typeface="+mj-lt"/>
            </a:rPr>
            <a:t>Lo más probable es que sus padres necesiten proporcionar información, si tienes 24 años, o menos.</a:t>
          </a:r>
          <a:endParaRPr lang="en-US" sz="2400">
            <a:latin typeface="+mj-lt"/>
          </a:endParaRPr>
        </a:p>
      </dgm:t>
    </dgm:pt>
    <dgm:pt modelId="{1029C2DC-9F41-48A4-BA8B-4DFF5610F05C}" type="parTrans" cxnId="{9AE6FDC1-F816-40EB-B1CD-2F005E55E337}">
      <dgm:prSet/>
      <dgm:spPr/>
      <dgm:t>
        <a:bodyPr/>
        <a:lstStyle/>
        <a:p>
          <a:endParaRPr lang="en-US"/>
        </a:p>
      </dgm:t>
    </dgm:pt>
    <dgm:pt modelId="{DCE97002-B5AF-4EB2-A6CB-346D2046217D}" type="sibTrans" cxnId="{9AE6FDC1-F816-40EB-B1CD-2F005E55E337}">
      <dgm:prSet/>
      <dgm:spPr/>
      <dgm:t>
        <a:bodyPr/>
        <a:lstStyle/>
        <a:p>
          <a:endParaRPr lang="en-US"/>
        </a:p>
      </dgm:t>
    </dgm:pt>
    <dgm:pt modelId="{FD73BE17-8E1F-4990-ABEA-D0E4A2F68687}">
      <dgm:prSet custT="1"/>
      <dgm:spPr/>
      <dgm:t>
        <a:bodyPr/>
        <a:lstStyle/>
        <a:p>
          <a:r>
            <a:rPr lang="es-ES" sz="2400">
              <a:latin typeface="+mj-lt"/>
            </a:rPr>
            <a:t>Los solicitantes de FAFSA también deben tener:</a:t>
          </a:r>
          <a:endParaRPr lang="en-US" sz="2400">
            <a:latin typeface="+mj-lt"/>
          </a:endParaRPr>
        </a:p>
      </dgm:t>
    </dgm:pt>
    <dgm:pt modelId="{BEC4E421-58F4-4E24-9853-857B446AD00A}" type="parTrans" cxnId="{7CAC6757-F963-4773-BD6C-29D3B470DF18}">
      <dgm:prSet/>
      <dgm:spPr/>
      <dgm:t>
        <a:bodyPr/>
        <a:lstStyle/>
        <a:p>
          <a:endParaRPr lang="en-US"/>
        </a:p>
      </dgm:t>
    </dgm:pt>
    <dgm:pt modelId="{4FA8B6D8-0DD8-4DAF-92B0-15A8D9C4343F}" type="sibTrans" cxnId="{7CAC6757-F963-4773-BD6C-29D3B470DF18}">
      <dgm:prSet/>
      <dgm:spPr/>
      <dgm:t>
        <a:bodyPr/>
        <a:lstStyle/>
        <a:p>
          <a:endParaRPr lang="en-US"/>
        </a:p>
      </dgm:t>
    </dgm:pt>
    <dgm:pt modelId="{AE7D3C88-10B1-46D7-BEB4-CCD899418796}">
      <dgm:prSet custT="1"/>
      <dgm:spPr/>
      <dgm:t>
        <a:bodyPr/>
        <a:lstStyle/>
        <a:p>
          <a:r>
            <a:rPr lang="es-ES" sz="2000">
              <a:latin typeface="+mj-lt"/>
            </a:rPr>
            <a:t>Su Tarjeta de Seguro Social o tarjeta de residencia legal.</a:t>
          </a:r>
          <a:r>
            <a:rPr lang="en-US" sz="2000">
              <a:latin typeface="+mj-lt"/>
            </a:rPr>
            <a:t> </a:t>
          </a:r>
        </a:p>
      </dgm:t>
    </dgm:pt>
    <dgm:pt modelId="{BF3490C4-B20E-40B1-A093-52B7AEF06E31}" type="parTrans" cxnId="{CB4FD573-BB8B-42A9-B982-CA64CBCFA0FC}">
      <dgm:prSet/>
      <dgm:spPr/>
      <dgm:t>
        <a:bodyPr/>
        <a:lstStyle/>
        <a:p>
          <a:endParaRPr lang="en-US"/>
        </a:p>
      </dgm:t>
    </dgm:pt>
    <dgm:pt modelId="{D889C2D2-907A-4AB0-AE64-4DDA509F534D}" type="sibTrans" cxnId="{CB4FD573-BB8B-42A9-B982-CA64CBCFA0FC}">
      <dgm:prSet/>
      <dgm:spPr/>
      <dgm:t>
        <a:bodyPr/>
        <a:lstStyle/>
        <a:p>
          <a:endParaRPr lang="en-US"/>
        </a:p>
      </dgm:t>
    </dgm:pt>
    <dgm:pt modelId="{A2083314-0B4D-4A10-B655-C31D2F88FBC2}">
      <dgm:prSet custT="1"/>
      <dgm:spPr/>
      <dgm:t>
        <a:bodyPr/>
        <a:lstStyle/>
        <a:p>
          <a:r>
            <a:rPr lang="es-ES" sz="2000">
              <a:latin typeface="+mj-lt"/>
            </a:rPr>
            <a:t>Número de Seguro Social de los padres (si tienen).</a:t>
          </a:r>
          <a:endParaRPr lang="en-US" sz="2000">
            <a:latin typeface="+mj-lt"/>
          </a:endParaRPr>
        </a:p>
      </dgm:t>
    </dgm:pt>
    <dgm:pt modelId="{29D7DC1F-0258-4723-B80C-3FE0CB086696}" type="parTrans" cxnId="{40B45EBE-8932-43F1-AB19-F3B053E72BB7}">
      <dgm:prSet/>
      <dgm:spPr/>
      <dgm:t>
        <a:bodyPr/>
        <a:lstStyle/>
        <a:p>
          <a:endParaRPr lang="en-US"/>
        </a:p>
      </dgm:t>
    </dgm:pt>
    <dgm:pt modelId="{6D17ACF9-B4F7-401E-8A0D-F59071C8BE66}" type="sibTrans" cxnId="{40B45EBE-8932-43F1-AB19-F3B053E72BB7}">
      <dgm:prSet/>
      <dgm:spPr/>
      <dgm:t>
        <a:bodyPr/>
        <a:lstStyle/>
        <a:p>
          <a:endParaRPr lang="en-US"/>
        </a:p>
      </dgm:t>
    </dgm:pt>
    <dgm:pt modelId="{3E0EA668-7CCA-4245-9C64-488CD0BC5D11}">
      <dgm:prSet custT="1"/>
      <dgm:spPr/>
      <dgm:t>
        <a:bodyPr/>
        <a:lstStyle/>
        <a:p>
          <a:r>
            <a:rPr lang="es-ES" sz="2000">
              <a:latin typeface="+mj-lt"/>
            </a:rPr>
            <a:t>Esto incluye estados de cuenta bancarias, la W-2, o un talón de cheque y una declaración de impuestos del 2022, si corresponde.</a:t>
          </a:r>
          <a:endParaRPr lang="en-US" sz="2000">
            <a:latin typeface="+mj-lt"/>
          </a:endParaRPr>
        </a:p>
      </dgm:t>
    </dgm:pt>
    <dgm:pt modelId="{60A7EA1C-7225-4BCA-B6D8-0481C2626CA9}" type="parTrans" cxnId="{D37A00C4-AA9F-4ED5-86AD-EC06C0D411AF}">
      <dgm:prSet/>
      <dgm:spPr/>
      <dgm:t>
        <a:bodyPr/>
        <a:lstStyle/>
        <a:p>
          <a:endParaRPr lang="en-US"/>
        </a:p>
      </dgm:t>
    </dgm:pt>
    <dgm:pt modelId="{939F10C4-CCC2-4B04-867A-AF1F4C04D21C}" type="sibTrans" cxnId="{D37A00C4-AA9F-4ED5-86AD-EC06C0D411AF}">
      <dgm:prSet/>
      <dgm:spPr/>
      <dgm:t>
        <a:bodyPr/>
        <a:lstStyle/>
        <a:p>
          <a:endParaRPr lang="en-US"/>
        </a:p>
      </dgm:t>
    </dgm:pt>
    <dgm:pt modelId="{015D2F01-2D7C-40CF-A544-B7997840A0E1}">
      <dgm:prSet custT="1"/>
      <dgm:spPr/>
      <dgm:t>
        <a:bodyPr/>
        <a:lstStyle/>
        <a:p>
          <a:r>
            <a:rPr lang="es-ES" sz="2000">
              <a:latin typeface="+mj-lt"/>
            </a:rPr>
            <a:t>Esto incluye estados de cuenta bancarios, estados de manutención infantil, W-2, o talones de pago y una declaración de impuestos del 2022, si corresponde.</a:t>
          </a:r>
          <a:endParaRPr lang="en-US" sz="2000">
            <a:latin typeface="+mj-lt"/>
          </a:endParaRPr>
        </a:p>
      </dgm:t>
    </dgm:pt>
    <dgm:pt modelId="{48988485-25B2-4328-8EA5-434E6DB2A377}" type="parTrans" cxnId="{FAD8FFF3-3633-49DC-9D10-BC13CA1B900A}">
      <dgm:prSet/>
      <dgm:spPr/>
      <dgm:t>
        <a:bodyPr/>
        <a:lstStyle/>
        <a:p>
          <a:endParaRPr lang="en-US"/>
        </a:p>
      </dgm:t>
    </dgm:pt>
    <dgm:pt modelId="{23ADABC5-E7B3-4D65-9EC5-463AC2532DEE}" type="sibTrans" cxnId="{FAD8FFF3-3633-49DC-9D10-BC13CA1B900A}">
      <dgm:prSet/>
      <dgm:spPr/>
      <dgm:t>
        <a:bodyPr/>
        <a:lstStyle/>
        <a:p>
          <a:endParaRPr lang="en-US"/>
        </a:p>
      </dgm:t>
    </dgm:pt>
    <dgm:pt modelId="{53D7B491-487B-4B4B-B790-9D64D24E3D79}">
      <dgm:prSet custT="1"/>
      <dgm:spPr/>
      <dgm:t>
        <a:bodyPr/>
        <a:lstStyle/>
        <a:p>
          <a:r>
            <a:rPr lang="en-US" sz="2000">
              <a:latin typeface="+mj-lt"/>
            </a:rPr>
            <a:t>Tu FSA ID y </a:t>
          </a:r>
          <a:r>
            <a:rPr lang="en-US" sz="2000" err="1">
              <a:latin typeface="+mj-lt"/>
            </a:rPr>
            <a:t>tus</a:t>
          </a:r>
          <a:r>
            <a:rPr lang="en-US" sz="2000">
              <a:latin typeface="+mj-lt"/>
            </a:rPr>
            <a:t> padres </a:t>
          </a:r>
          <a:r>
            <a:rPr lang="en-US" sz="2000" err="1">
              <a:latin typeface="+mj-lt"/>
            </a:rPr>
            <a:t>tambien</a:t>
          </a:r>
          <a:r>
            <a:rPr lang="en-US" sz="2000">
              <a:latin typeface="+mj-lt"/>
            </a:rPr>
            <a:t> deberán de </a:t>
          </a:r>
          <a:r>
            <a:rPr lang="en-US" sz="2000" err="1">
              <a:latin typeface="+mj-lt"/>
            </a:rPr>
            <a:t>crear</a:t>
          </a:r>
          <a:r>
            <a:rPr lang="en-US" sz="2000">
              <a:latin typeface="+mj-lt"/>
            </a:rPr>
            <a:t> un FSA ID.</a:t>
          </a:r>
        </a:p>
      </dgm:t>
    </dgm:pt>
    <dgm:pt modelId="{740EF1A2-70FA-4B5A-994C-554EE0BDAB04}" type="parTrans" cxnId="{213646AB-B55D-436B-B515-2FF2EA730B54}">
      <dgm:prSet/>
      <dgm:spPr/>
    </dgm:pt>
    <dgm:pt modelId="{5607F22F-6044-4F09-AA26-615B715639CB}" type="sibTrans" cxnId="{213646AB-B55D-436B-B515-2FF2EA730B54}">
      <dgm:prSet/>
      <dgm:spPr/>
    </dgm:pt>
    <dgm:pt modelId="{7A52F03B-31B6-4B2F-8537-1D9D009C0EF5}" type="pres">
      <dgm:prSet presAssocID="{5DE0015D-AEB8-4AF2-A087-BBEBA70AD66B}" presName="linear" presStyleCnt="0">
        <dgm:presLayoutVars>
          <dgm:animLvl val="lvl"/>
          <dgm:resizeHandles val="exact"/>
        </dgm:presLayoutVars>
      </dgm:prSet>
      <dgm:spPr/>
    </dgm:pt>
    <dgm:pt modelId="{993CD1AD-158A-4C39-AECB-B1F1A112361C}" type="pres">
      <dgm:prSet presAssocID="{1AEA5284-CD68-4AC9-B424-17E626515C2E}" presName="parentText" presStyleLbl="node1" presStyleIdx="0" presStyleCnt="4">
        <dgm:presLayoutVars>
          <dgm:chMax val="0"/>
          <dgm:bulletEnabled val="1"/>
        </dgm:presLayoutVars>
      </dgm:prSet>
      <dgm:spPr/>
    </dgm:pt>
    <dgm:pt modelId="{7555DBBA-A22E-47EA-BFC0-AEF1052DE725}" type="pres">
      <dgm:prSet presAssocID="{F33B0175-05AA-4C15-8900-62A081DB14B7}" presName="spacer" presStyleCnt="0"/>
      <dgm:spPr/>
    </dgm:pt>
    <dgm:pt modelId="{FDF70A32-6E3E-4ACC-AD26-AA38C8657881}" type="pres">
      <dgm:prSet presAssocID="{ECE71C09-084A-41B3-86A7-9B8948FF52AA}" presName="parentText" presStyleLbl="node1" presStyleIdx="1" presStyleCnt="4">
        <dgm:presLayoutVars>
          <dgm:chMax val="0"/>
          <dgm:bulletEnabled val="1"/>
        </dgm:presLayoutVars>
      </dgm:prSet>
      <dgm:spPr/>
    </dgm:pt>
    <dgm:pt modelId="{DC49D098-172A-43A4-8A6E-1BE9F151DFC7}" type="pres">
      <dgm:prSet presAssocID="{ECE71C09-084A-41B3-86A7-9B8948FF52AA}" presName="childText" presStyleLbl="revTx" presStyleIdx="0" presStyleCnt="3" custScaleY="142988">
        <dgm:presLayoutVars>
          <dgm:bulletEnabled val="1"/>
        </dgm:presLayoutVars>
      </dgm:prSet>
      <dgm:spPr/>
    </dgm:pt>
    <dgm:pt modelId="{52A85D97-90FE-4AC5-8263-9B3C62782FC4}" type="pres">
      <dgm:prSet presAssocID="{9CA94CBB-D31B-4B26-A356-5E904C7805E8}" presName="parentText" presStyleLbl="node1" presStyleIdx="2" presStyleCnt="4">
        <dgm:presLayoutVars>
          <dgm:chMax val="0"/>
          <dgm:bulletEnabled val="1"/>
        </dgm:presLayoutVars>
      </dgm:prSet>
      <dgm:spPr/>
    </dgm:pt>
    <dgm:pt modelId="{79C8AD4F-4F73-4D39-A805-08CB8B5F908A}" type="pres">
      <dgm:prSet presAssocID="{9CA94CBB-D31B-4B26-A356-5E904C7805E8}" presName="childText" presStyleLbl="revTx" presStyleIdx="1" presStyleCnt="3" custScaleY="114790">
        <dgm:presLayoutVars>
          <dgm:bulletEnabled val="1"/>
        </dgm:presLayoutVars>
      </dgm:prSet>
      <dgm:spPr/>
    </dgm:pt>
    <dgm:pt modelId="{57EEA118-2B00-4662-862F-C82E930C0746}" type="pres">
      <dgm:prSet presAssocID="{FD73BE17-8E1F-4990-ABEA-D0E4A2F68687}" presName="parentText" presStyleLbl="node1" presStyleIdx="3" presStyleCnt="4">
        <dgm:presLayoutVars>
          <dgm:chMax val="0"/>
          <dgm:bulletEnabled val="1"/>
        </dgm:presLayoutVars>
      </dgm:prSet>
      <dgm:spPr/>
    </dgm:pt>
    <dgm:pt modelId="{73FA54F6-54FF-4EBD-B291-1E77DBBCAE3D}" type="pres">
      <dgm:prSet presAssocID="{FD73BE17-8E1F-4990-ABEA-D0E4A2F68687}" presName="childText" presStyleLbl="revTx" presStyleIdx="2" presStyleCnt="3" custScaleY="136102">
        <dgm:presLayoutVars>
          <dgm:bulletEnabled val="1"/>
        </dgm:presLayoutVars>
      </dgm:prSet>
      <dgm:spPr/>
    </dgm:pt>
  </dgm:ptLst>
  <dgm:cxnLst>
    <dgm:cxn modelId="{D1DED304-6352-4E6A-BBF4-A5B60EF2BC7A}" type="presOf" srcId="{FD73BE17-8E1F-4990-ABEA-D0E4A2F68687}" destId="{57EEA118-2B00-4662-862F-C82E930C0746}" srcOrd="0" destOrd="0" presId="urn:microsoft.com/office/officeart/2005/8/layout/vList2"/>
    <dgm:cxn modelId="{1D67220E-96DE-47B1-A4AB-3BC59D9EBD43}" type="presOf" srcId="{015D2F01-2D7C-40CF-A544-B7997840A0E1}" destId="{79C8AD4F-4F73-4D39-A805-08CB8B5F908A}" srcOrd="0" destOrd="0" presId="urn:microsoft.com/office/officeart/2005/8/layout/vList2"/>
    <dgm:cxn modelId="{3BC19E12-6F9F-4952-B7DA-8A32EF26BD85}" type="presOf" srcId="{AE7D3C88-10B1-46D7-BEB4-CCD899418796}" destId="{73FA54F6-54FF-4EBD-B291-1E77DBBCAE3D}" srcOrd="0" destOrd="1" presId="urn:microsoft.com/office/officeart/2005/8/layout/vList2"/>
    <dgm:cxn modelId="{20D2513C-E9CE-4A5B-BB50-16DBA5708F23}" type="presOf" srcId="{3E0EA668-7CCA-4245-9C64-488CD0BC5D11}" destId="{DC49D098-172A-43A4-8A6E-1BE9F151DFC7}" srcOrd="0" destOrd="0" presId="urn:microsoft.com/office/officeart/2005/8/layout/vList2"/>
    <dgm:cxn modelId="{DA975D3E-8A7F-41BB-BFEA-08B85435872E}" type="presOf" srcId="{ECE71C09-084A-41B3-86A7-9B8948FF52AA}" destId="{FDF70A32-6E3E-4ACC-AD26-AA38C8657881}" srcOrd="0" destOrd="0" presId="urn:microsoft.com/office/officeart/2005/8/layout/vList2"/>
    <dgm:cxn modelId="{4FBC236B-3C6D-425A-A40D-6013E1C17DC9}" type="presOf" srcId="{9CA94CBB-D31B-4B26-A356-5E904C7805E8}" destId="{52A85D97-90FE-4AC5-8263-9B3C62782FC4}" srcOrd="0" destOrd="0" presId="urn:microsoft.com/office/officeart/2005/8/layout/vList2"/>
    <dgm:cxn modelId="{78CB116E-459D-4C40-A37F-87CA419AC6C3}" type="presOf" srcId="{53D7B491-487B-4B4B-B790-9D64D24E3D79}" destId="{73FA54F6-54FF-4EBD-B291-1E77DBBCAE3D}" srcOrd="0" destOrd="0" presId="urn:microsoft.com/office/officeart/2005/8/layout/vList2"/>
    <dgm:cxn modelId="{CB4FD573-BB8B-42A9-B982-CA64CBCFA0FC}" srcId="{FD73BE17-8E1F-4990-ABEA-D0E4A2F68687}" destId="{AE7D3C88-10B1-46D7-BEB4-CCD899418796}" srcOrd="1" destOrd="0" parTransId="{BF3490C4-B20E-40B1-A093-52B7AEF06E31}" sibTransId="{D889C2D2-907A-4AB0-AE64-4DDA509F534D}"/>
    <dgm:cxn modelId="{7CAC6757-F963-4773-BD6C-29D3B470DF18}" srcId="{5DE0015D-AEB8-4AF2-A087-BBEBA70AD66B}" destId="{FD73BE17-8E1F-4990-ABEA-D0E4A2F68687}" srcOrd="3" destOrd="0" parTransId="{BEC4E421-58F4-4E24-9853-857B446AD00A}" sibTransId="{4FA8B6D8-0DD8-4DAF-92B0-15A8D9C4343F}"/>
    <dgm:cxn modelId="{8E90F2A1-FE95-4CFD-97FA-1B1A6F728357}" srcId="{5DE0015D-AEB8-4AF2-A087-BBEBA70AD66B}" destId="{ECE71C09-084A-41B3-86A7-9B8948FF52AA}" srcOrd="1" destOrd="0" parTransId="{F9A0390B-EDF9-42A0-8EB6-18A87FF19FBF}" sibTransId="{CF3D6359-92B0-4644-BDF3-72158C2F0F36}"/>
    <dgm:cxn modelId="{1A1B0FA6-C7B2-4A20-9C2C-7036705EC4F5}" type="presOf" srcId="{5DE0015D-AEB8-4AF2-A087-BBEBA70AD66B}" destId="{7A52F03B-31B6-4B2F-8537-1D9D009C0EF5}" srcOrd="0" destOrd="0" presId="urn:microsoft.com/office/officeart/2005/8/layout/vList2"/>
    <dgm:cxn modelId="{B6381EA6-CA16-4244-A2DC-599E436D5749}" srcId="{5DE0015D-AEB8-4AF2-A087-BBEBA70AD66B}" destId="{1AEA5284-CD68-4AC9-B424-17E626515C2E}" srcOrd="0" destOrd="0" parTransId="{5FA54A62-5404-4622-AAC8-3506A8EA8EB3}" sibTransId="{F33B0175-05AA-4C15-8900-62A081DB14B7}"/>
    <dgm:cxn modelId="{213646AB-B55D-436B-B515-2FF2EA730B54}" srcId="{FD73BE17-8E1F-4990-ABEA-D0E4A2F68687}" destId="{53D7B491-487B-4B4B-B790-9D64D24E3D79}" srcOrd="0" destOrd="0" parTransId="{740EF1A2-70FA-4B5A-994C-554EE0BDAB04}" sibTransId="{5607F22F-6044-4F09-AA26-615B715639CB}"/>
    <dgm:cxn modelId="{40B45EBE-8932-43F1-AB19-F3B053E72BB7}" srcId="{FD73BE17-8E1F-4990-ABEA-D0E4A2F68687}" destId="{A2083314-0B4D-4A10-B655-C31D2F88FBC2}" srcOrd="2" destOrd="0" parTransId="{29D7DC1F-0258-4723-B80C-3FE0CB086696}" sibTransId="{6D17ACF9-B4F7-401E-8A0D-F59071C8BE66}"/>
    <dgm:cxn modelId="{9AE6FDC1-F816-40EB-B1CD-2F005E55E337}" srcId="{5DE0015D-AEB8-4AF2-A087-BBEBA70AD66B}" destId="{9CA94CBB-D31B-4B26-A356-5E904C7805E8}" srcOrd="2" destOrd="0" parTransId="{1029C2DC-9F41-48A4-BA8B-4DFF5610F05C}" sibTransId="{DCE97002-B5AF-4EB2-A6CB-346D2046217D}"/>
    <dgm:cxn modelId="{D37A00C4-AA9F-4ED5-86AD-EC06C0D411AF}" srcId="{ECE71C09-084A-41B3-86A7-9B8948FF52AA}" destId="{3E0EA668-7CCA-4245-9C64-488CD0BC5D11}" srcOrd="0" destOrd="0" parTransId="{60A7EA1C-7225-4BCA-B6D8-0481C2626CA9}" sibTransId="{939F10C4-CCC2-4B04-867A-AF1F4C04D21C}"/>
    <dgm:cxn modelId="{080204D8-D5C1-4CC1-B68B-9373B6C5E003}" type="presOf" srcId="{1AEA5284-CD68-4AC9-B424-17E626515C2E}" destId="{993CD1AD-158A-4C39-AECB-B1F1A112361C}" srcOrd="0" destOrd="0" presId="urn:microsoft.com/office/officeart/2005/8/layout/vList2"/>
    <dgm:cxn modelId="{FD7489D8-6597-4DA8-A086-BA7CE63809F7}" type="presOf" srcId="{A2083314-0B4D-4A10-B655-C31D2F88FBC2}" destId="{73FA54F6-54FF-4EBD-B291-1E77DBBCAE3D}" srcOrd="0" destOrd="2" presId="urn:microsoft.com/office/officeart/2005/8/layout/vList2"/>
    <dgm:cxn modelId="{FAD8FFF3-3633-49DC-9D10-BC13CA1B900A}" srcId="{9CA94CBB-D31B-4B26-A356-5E904C7805E8}" destId="{015D2F01-2D7C-40CF-A544-B7997840A0E1}" srcOrd="0" destOrd="0" parTransId="{48988485-25B2-4328-8EA5-434E6DB2A377}" sibTransId="{23ADABC5-E7B3-4D65-9EC5-463AC2532DEE}"/>
    <dgm:cxn modelId="{6FE4216E-6B58-4075-8D7F-BF5270EC04CD}" type="presParOf" srcId="{7A52F03B-31B6-4B2F-8537-1D9D009C0EF5}" destId="{993CD1AD-158A-4C39-AECB-B1F1A112361C}" srcOrd="0" destOrd="0" presId="urn:microsoft.com/office/officeart/2005/8/layout/vList2"/>
    <dgm:cxn modelId="{8D8BE796-1EF2-4420-9523-2B0C219B1250}" type="presParOf" srcId="{7A52F03B-31B6-4B2F-8537-1D9D009C0EF5}" destId="{7555DBBA-A22E-47EA-BFC0-AEF1052DE725}" srcOrd="1" destOrd="0" presId="urn:microsoft.com/office/officeart/2005/8/layout/vList2"/>
    <dgm:cxn modelId="{99C896E2-E691-4AD3-8AB1-18E0F2CB22E4}" type="presParOf" srcId="{7A52F03B-31B6-4B2F-8537-1D9D009C0EF5}" destId="{FDF70A32-6E3E-4ACC-AD26-AA38C8657881}" srcOrd="2" destOrd="0" presId="urn:microsoft.com/office/officeart/2005/8/layout/vList2"/>
    <dgm:cxn modelId="{5874B7BC-EFCC-46B7-9737-27C321C483EC}" type="presParOf" srcId="{7A52F03B-31B6-4B2F-8537-1D9D009C0EF5}" destId="{DC49D098-172A-43A4-8A6E-1BE9F151DFC7}" srcOrd="3" destOrd="0" presId="urn:microsoft.com/office/officeart/2005/8/layout/vList2"/>
    <dgm:cxn modelId="{B29577CC-784F-4BB7-9837-C662A0BE7434}" type="presParOf" srcId="{7A52F03B-31B6-4B2F-8537-1D9D009C0EF5}" destId="{52A85D97-90FE-4AC5-8263-9B3C62782FC4}" srcOrd="4" destOrd="0" presId="urn:microsoft.com/office/officeart/2005/8/layout/vList2"/>
    <dgm:cxn modelId="{19E3E0C3-7979-4DC7-AFF7-8FBDE3D578B5}" type="presParOf" srcId="{7A52F03B-31B6-4B2F-8537-1D9D009C0EF5}" destId="{79C8AD4F-4F73-4D39-A805-08CB8B5F908A}" srcOrd="5" destOrd="0" presId="urn:microsoft.com/office/officeart/2005/8/layout/vList2"/>
    <dgm:cxn modelId="{5A2947F0-D9A7-4EF4-8BFC-EEE0AAF1F0A0}" type="presParOf" srcId="{7A52F03B-31B6-4B2F-8537-1D9D009C0EF5}" destId="{57EEA118-2B00-4662-862F-C82E930C0746}" srcOrd="6" destOrd="0" presId="urn:microsoft.com/office/officeart/2005/8/layout/vList2"/>
    <dgm:cxn modelId="{3BACBAF1-08EE-49E1-8ABD-D080E9E1F191}" type="presParOf" srcId="{7A52F03B-31B6-4B2F-8537-1D9D009C0EF5}" destId="{73FA54F6-54FF-4EBD-B291-1E77DBBCAE3D}" srcOrd="7"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240D6D8-7490-4844-9EB5-5379740C2075}" type="doc">
      <dgm:prSet loTypeId="urn:microsoft.com/office/officeart/2005/8/layout/cycle3" loCatId="cycle" qsTypeId="urn:microsoft.com/office/officeart/2005/8/quickstyle/simple1" qsCatId="simple" csTypeId="urn:microsoft.com/office/officeart/2005/8/colors/colorful2" csCatId="colorful" phldr="1"/>
      <dgm:spPr/>
      <dgm:t>
        <a:bodyPr/>
        <a:lstStyle/>
        <a:p>
          <a:endParaRPr lang="en-US"/>
        </a:p>
      </dgm:t>
    </dgm:pt>
    <dgm:pt modelId="{A720B26A-22E3-4B07-A6AC-E196D66EB2FD}">
      <dgm:prSet phldrT="[Text]" custT="1"/>
      <dgm:spPr/>
      <dgm:t>
        <a:bodyPr/>
        <a:lstStyle/>
        <a:p>
          <a:r>
            <a:rPr lang="es-ES" sz="1600">
              <a:latin typeface="+mj-lt"/>
            </a:rPr>
            <a:t>FAFSA y WASFA abren en </a:t>
          </a:r>
          <a:endParaRPr lang="en-US" sz="1600">
            <a:latin typeface="+mj-lt"/>
          </a:endParaRPr>
        </a:p>
        <a:p>
          <a:r>
            <a:rPr lang="en-US" sz="1600" err="1">
              <a:latin typeface="+mj-lt"/>
            </a:rPr>
            <a:t>diciembre</a:t>
          </a:r>
          <a:r>
            <a:rPr lang="es-ES" sz="1600">
              <a:latin typeface="+mj-lt"/>
            </a:rPr>
            <a:t>.</a:t>
          </a:r>
          <a:endParaRPr lang="en-US" sz="1600">
            <a:latin typeface="+mj-lt"/>
          </a:endParaRPr>
        </a:p>
      </dgm:t>
    </dgm:pt>
    <dgm:pt modelId="{2DA48E39-05DA-4564-813D-134F5371698C}" type="parTrans" cxnId="{1925E4C3-B18E-464B-A3F5-D1CA0441FCED}">
      <dgm:prSet/>
      <dgm:spPr/>
      <dgm:t>
        <a:bodyPr/>
        <a:lstStyle/>
        <a:p>
          <a:endParaRPr lang="en-US"/>
        </a:p>
      </dgm:t>
    </dgm:pt>
    <dgm:pt modelId="{8105AB20-2D6A-45E8-93DF-02FC44AD90CE}" type="sibTrans" cxnId="{1925E4C3-B18E-464B-A3F5-D1CA0441FCED}">
      <dgm:prSet/>
      <dgm:spPr/>
      <dgm:t>
        <a:bodyPr/>
        <a:lstStyle/>
        <a:p>
          <a:endParaRPr lang="en-US"/>
        </a:p>
      </dgm:t>
    </dgm:pt>
    <dgm:pt modelId="{86C4F57C-6535-4543-A510-66472222C53C}">
      <dgm:prSet phldrT="[Text]" custT="1"/>
      <dgm:spPr/>
      <dgm:t>
        <a:bodyPr/>
        <a:lstStyle/>
        <a:p>
          <a:r>
            <a:rPr lang="es-ES" sz="1600">
              <a:latin typeface="+mj-lt"/>
            </a:rPr>
            <a:t>Los estudiantes solicitan ayuda financiera y admisiones</a:t>
          </a:r>
          <a:r>
            <a:rPr lang="es-ES" sz="1400">
              <a:latin typeface="+mj-lt"/>
            </a:rPr>
            <a:t>.</a:t>
          </a:r>
          <a:endParaRPr lang="en-US" sz="1400">
            <a:latin typeface="+mj-lt"/>
          </a:endParaRPr>
        </a:p>
      </dgm:t>
    </dgm:pt>
    <dgm:pt modelId="{1E92E189-8377-4EA4-8C87-473189A3D2F7}" type="parTrans" cxnId="{0424070B-AC03-414D-9C99-5F5CC328B3A3}">
      <dgm:prSet/>
      <dgm:spPr/>
      <dgm:t>
        <a:bodyPr/>
        <a:lstStyle/>
        <a:p>
          <a:endParaRPr lang="en-US"/>
        </a:p>
      </dgm:t>
    </dgm:pt>
    <dgm:pt modelId="{26B3CED2-5F4F-43F9-BAE5-E631C7BD3FBB}" type="sibTrans" cxnId="{0424070B-AC03-414D-9C99-5F5CC328B3A3}">
      <dgm:prSet/>
      <dgm:spPr/>
      <dgm:t>
        <a:bodyPr/>
        <a:lstStyle/>
        <a:p>
          <a:endParaRPr lang="en-US"/>
        </a:p>
      </dgm:t>
    </dgm:pt>
    <dgm:pt modelId="{A09DF805-1F57-4B5F-8F60-6E7085023EE0}">
      <dgm:prSet phldrT="[Text]" custT="1"/>
      <dgm:spPr/>
      <dgm:t>
        <a:bodyPr/>
        <a:lstStyle/>
        <a:p>
          <a:r>
            <a:rPr lang="es-ES" sz="1600">
              <a:latin typeface="+mj-lt"/>
            </a:rPr>
            <a:t>Crear un FSA ID, o una cuenta de WASFA (solo se crea una vez).</a:t>
          </a:r>
          <a:endParaRPr lang="en-US" sz="1600">
            <a:latin typeface="+mj-lt"/>
          </a:endParaRPr>
        </a:p>
      </dgm:t>
    </dgm:pt>
    <dgm:pt modelId="{FFD8DFB1-EBB5-44AD-AF40-ACA01DA457FF}" type="parTrans" cxnId="{EFD477FD-829C-4228-99A2-6208472B7E16}">
      <dgm:prSet/>
      <dgm:spPr/>
      <dgm:t>
        <a:bodyPr/>
        <a:lstStyle/>
        <a:p>
          <a:endParaRPr lang="en-US"/>
        </a:p>
      </dgm:t>
    </dgm:pt>
    <dgm:pt modelId="{70ACBEE0-31E1-4B6E-9F34-E85FA085ABD0}" type="sibTrans" cxnId="{EFD477FD-829C-4228-99A2-6208472B7E16}">
      <dgm:prSet/>
      <dgm:spPr/>
      <dgm:t>
        <a:bodyPr/>
        <a:lstStyle/>
        <a:p>
          <a:endParaRPr lang="en-US"/>
        </a:p>
      </dgm:t>
    </dgm:pt>
    <dgm:pt modelId="{61B99509-AEF9-40C7-9B3A-130B7498C240}">
      <dgm:prSet phldrT="[Text]" custT="1"/>
      <dgm:spPr/>
      <dgm:t>
        <a:bodyPr/>
        <a:lstStyle/>
        <a:p>
          <a:r>
            <a:rPr lang="en-US" sz="1600" err="1">
              <a:latin typeface="+mj-lt"/>
            </a:rPr>
            <a:t>Reunir</a:t>
          </a:r>
          <a:r>
            <a:rPr lang="en-US" sz="1600">
              <a:latin typeface="+mj-lt"/>
            </a:rPr>
            <a:t> </a:t>
          </a:r>
          <a:r>
            <a:rPr lang="en-US" sz="1600" err="1">
              <a:latin typeface="+mj-lt"/>
            </a:rPr>
            <a:t>los</a:t>
          </a:r>
          <a:r>
            <a:rPr lang="en-US" sz="1600">
              <a:latin typeface="+mj-lt"/>
            </a:rPr>
            <a:t> </a:t>
          </a:r>
          <a:r>
            <a:rPr lang="en-US" sz="1600" err="1">
              <a:latin typeface="+mj-lt"/>
            </a:rPr>
            <a:t>documentos</a:t>
          </a:r>
          <a:r>
            <a:rPr lang="en-US" sz="1600">
              <a:latin typeface="+mj-lt"/>
            </a:rPr>
            <a:t> </a:t>
          </a:r>
          <a:r>
            <a:rPr lang="en-US" sz="1600" err="1">
              <a:latin typeface="+mj-lt"/>
            </a:rPr>
            <a:t>requeridos</a:t>
          </a:r>
          <a:r>
            <a:rPr lang="en-US" sz="1600">
              <a:latin typeface="+mj-lt"/>
            </a:rPr>
            <a:t>.</a:t>
          </a:r>
        </a:p>
      </dgm:t>
    </dgm:pt>
    <dgm:pt modelId="{D4C78FD9-D736-4CC9-BF9B-0BD7647F87AB}" type="parTrans" cxnId="{49AC5FE0-C60C-4CE6-829A-9D9FE435B404}">
      <dgm:prSet/>
      <dgm:spPr/>
      <dgm:t>
        <a:bodyPr/>
        <a:lstStyle/>
        <a:p>
          <a:endParaRPr lang="en-US"/>
        </a:p>
      </dgm:t>
    </dgm:pt>
    <dgm:pt modelId="{B941418F-917B-4ED7-BC84-29BD91B8A25A}" type="sibTrans" cxnId="{49AC5FE0-C60C-4CE6-829A-9D9FE435B404}">
      <dgm:prSet/>
      <dgm:spPr/>
      <dgm:t>
        <a:bodyPr/>
        <a:lstStyle/>
        <a:p>
          <a:endParaRPr lang="en-US"/>
        </a:p>
      </dgm:t>
    </dgm:pt>
    <dgm:pt modelId="{C82DCEF1-746B-4587-9D86-7A8A6E425CF7}">
      <dgm:prSet phldrT="[Text]" custT="1"/>
      <dgm:spPr/>
      <dgm:t>
        <a:bodyPr/>
        <a:lstStyle/>
        <a:p>
          <a:r>
            <a:rPr lang="es-ES" sz="1600">
              <a:latin typeface="+mj-lt"/>
            </a:rPr>
            <a:t>Haga un seguimiento con las universidades para cualquier solicitud adicional de información.</a:t>
          </a:r>
          <a:endParaRPr lang="en-US" sz="1600">
            <a:latin typeface="+mj-lt"/>
          </a:endParaRPr>
        </a:p>
      </dgm:t>
    </dgm:pt>
    <dgm:pt modelId="{0999C082-21E5-4CBC-B0EF-FE24F4DCE523}" type="parTrans" cxnId="{B8D2CF2B-B7DE-4DFD-94DD-E23B4A26D936}">
      <dgm:prSet/>
      <dgm:spPr/>
      <dgm:t>
        <a:bodyPr/>
        <a:lstStyle/>
        <a:p>
          <a:endParaRPr lang="en-US"/>
        </a:p>
      </dgm:t>
    </dgm:pt>
    <dgm:pt modelId="{259BCD71-2B12-4BB6-8F18-1F888776EC78}" type="sibTrans" cxnId="{B8D2CF2B-B7DE-4DFD-94DD-E23B4A26D936}">
      <dgm:prSet/>
      <dgm:spPr/>
      <dgm:t>
        <a:bodyPr/>
        <a:lstStyle/>
        <a:p>
          <a:endParaRPr lang="en-US"/>
        </a:p>
      </dgm:t>
    </dgm:pt>
    <dgm:pt modelId="{5FE6B6A3-6701-488F-A726-6A9CAFF65C17}">
      <dgm:prSet phldrT="[Text]"/>
      <dgm:spPr/>
      <dgm:t>
        <a:bodyPr/>
        <a:lstStyle/>
        <a:p>
          <a:r>
            <a:rPr lang="es-ES">
              <a:latin typeface="+mj-lt"/>
            </a:rPr>
            <a:t>Revise sus cartas de adjudicación (apoyo) y acepte su ayuda.</a:t>
          </a:r>
          <a:endParaRPr lang="en-US">
            <a:latin typeface="+mj-lt"/>
          </a:endParaRPr>
        </a:p>
      </dgm:t>
    </dgm:pt>
    <dgm:pt modelId="{53ABDBF4-95A2-491A-B76C-E03E3E0C0A48}" type="parTrans" cxnId="{2F967F1E-4530-4532-9753-B41F72FAA86D}">
      <dgm:prSet/>
      <dgm:spPr/>
      <dgm:t>
        <a:bodyPr/>
        <a:lstStyle/>
        <a:p>
          <a:endParaRPr lang="en-US"/>
        </a:p>
      </dgm:t>
    </dgm:pt>
    <dgm:pt modelId="{C85E0382-82A7-47F7-8E8A-4F1C168862FF}" type="sibTrans" cxnId="{2F967F1E-4530-4532-9753-B41F72FAA86D}">
      <dgm:prSet/>
      <dgm:spPr/>
      <dgm:t>
        <a:bodyPr/>
        <a:lstStyle/>
        <a:p>
          <a:endParaRPr lang="en-US"/>
        </a:p>
      </dgm:t>
    </dgm:pt>
    <dgm:pt modelId="{670F5E29-8E36-4E72-86FB-20718D82A483}" type="pres">
      <dgm:prSet presAssocID="{F240D6D8-7490-4844-9EB5-5379740C2075}" presName="Name0" presStyleCnt="0">
        <dgm:presLayoutVars>
          <dgm:dir/>
          <dgm:resizeHandles val="exact"/>
        </dgm:presLayoutVars>
      </dgm:prSet>
      <dgm:spPr/>
    </dgm:pt>
    <dgm:pt modelId="{180A2BB1-DD42-4138-B077-636240A1B721}" type="pres">
      <dgm:prSet presAssocID="{F240D6D8-7490-4844-9EB5-5379740C2075}" presName="cycle" presStyleCnt="0"/>
      <dgm:spPr/>
    </dgm:pt>
    <dgm:pt modelId="{396097A1-E9A3-459B-9481-0CFB1C7A4168}" type="pres">
      <dgm:prSet presAssocID="{61B99509-AEF9-40C7-9B3A-130B7498C240}" presName="nodeFirstNode" presStyleLbl="node1" presStyleIdx="0" presStyleCnt="6">
        <dgm:presLayoutVars>
          <dgm:bulletEnabled val="1"/>
        </dgm:presLayoutVars>
      </dgm:prSet>
      <dgm:spPr/>
    </dgm:pt>
    <dgm:pt modelId="{5A48AAA6-5767-4857-8F42-A50639916294}" type="pres">
      <dgm:prSet presAssocID="{B941418F-917B-4ED7-BC84-29BD91B8A25A}" presName="sibTransFirstNode" presStyleLbl="bgShp" presStyleIdx="0" presStyleCnt="1"/>
      <dgm:spPr/>
    </dgm:pt>
    <dgm:pt modelId="{17A59CB3-C312-4804-9B27-E9EC7480DFA6}" type="pres">
      <dgm:prSet presAssocID="{A09DF805-1F57-4B5F-8F60-6E7085023EE0}" presName="nodeFollowingNodes" presStyleLbl="node1" presStyleIdx="1" presStyleCnt="6">
        <dgm:presLayoutVars>
          <dgm:bulletEnabled val="1"/>
        </dgm:presLayoutVars>
      </dgm:prSet>
      <dgm:spPr/>
    </dgm:pt>
    <dgm:pt modelId="{0440F1AF-C7BA-4479-9D19-310F3CA5BB3E}" type="pres">
      <dgm:prSet presAssocID="{A720B26A-22E3-4B07-A6AC-E196D66EB2FD}" presName="nodeFollowingNodes" presStyleLbl="node1" presStyleIdx="2" presStyleCnt="6" custRadScaleRad="94276" custRadScaleInc="-11029">
        <dgm:presLayoutVars>
          <dgm:bulletEnabled val="1"/>
        </dgm:presLayoutVars>
      </dgm:prSet>
      <dgm:spPr/>
    </dgm:pt>
    <dgm:pt modelId="{80E7C151-8990-41C0-81F8-D11135D6AA76}" type="pres">
      <dgm:prSet presAssocID="{86C4F57C-6535-4543-A510-66472222C53C}" presName="nodeFollowingNodes" presStyleLbl="node1" presStyleIdx="3" presStyleCnt="6">
        <dgm:presLayoutVars>
          <dgm:bulletEnabled val="1"/>
        </dgm:presLayoutVars>
      </dgm:prSet>
      <dgm:spPr/>
    </dgm:pt>
    <dgm:pt modelId="{EA2AA3E0-8A65-4ACE-8A69-98A580E15AFC}" type="pres">
      <dgm:prSet presAssocID="{C82DCEF1-746B-4587-9D86-7A8A6E425CF7}" presName="nodeFollowingNodes" presStyleLbl="node1" presStyleIdx="4" presStyleCnt="6" custScaleX="115921" custScaleY="96498" custRadScaleRad="99388" custRadScaleInc="13607">
        <dgm:presLayoutVars>
          <dgm:bulletEnabled val="1"/>
        </dgm:presLayoutVars>
      </dgm:prSet>
      <dgm:spPr/>
    </dgm:pt>
    <dgm:pt modelId="{AA458DA6-D0B9-443C-ABD5-12A7170BF190}" type="pres">
      <dgm:prSet presAssocID="{5FE6B6A3-6701-488F-A726-6A9CAFF65C17}" presName="nodeFollowingNodes" presStyleLbl="node1" presStyleIdx="5" presStyleCnt="6">
        <dgm:presLayoutVars>
          <dgm:bulletEnabled val="1"/>
        </dgm:presLayoutVars>
      </dgm:prSet>
      <dgm:spPr/>
    </dgm:pt>
  </dgm:ptLst>
  <dgm:cxnLst>
    <dgm:cxn modelId="{0424070B-AC03-414D-9C99-5F5CC328B3A3}" srcId="{F240D6D8-7490-4844-9EB5-5379740C2075}" destId="{86C4F57C-6535-4543-A510-66472222C53C}" srcOrd="3" destOrd="0" parTransId="{1E92E189-8377-4EA4-8C87-473189A3D2F7}" sibTransId="{26B3CED2-5F4F-43F9-BAE5-E631C7BD3FBB}"/>
    <dgm:cxn modelId="{381BE90C-C20B-4F65-B403-B8549655B1AF}" type="presOf" srcId="{F240D6D8-7490-4844-9EB5-5379740C2075}" destId="{670F5E29-8E36-4E72-86FB-20718D82A483}" srcOrd="0" destOrd="0" presId="urn:microsoft.com/office/officeart/2005/8/layout/cycle3"/>
    <dgm:cxn modelId="{2F967F1E-4530-4532-9753-B41F72FAA86D}" srcId="{F240D6D8-7490-4844-9EB5-5379740C2075}" destId="{5FE6B6A3-6701-488F-A726-6A9CAFF65C17}" srcOrd="5" destOrd="0" parTransId="{53ABDBF4-95A2-491A-B76C-E03E3E0C0A48}" sibTransId="{C85E0382-82A7-47F7-8E8A-4F1C168862FF}"/>
    <dgm:cxn modelId="{29A2A420-A25F-4066-A9CC-7CD366C2D24D}" type="presOf" srcId="{B941418F-917B-4ED7-BC84-29BD91B8A25A}" destId="{5A48AAA6-5767-4857-8F42-A50639916294}" srcOrd="0" destOrd="0" presId="urn:microsoft.com/office/officeart/2005/8/layout/cycle3"/>
    <dgm:cxn modelId="{311B552B-5AE7-4340-8637-0E1A09157072}" type="presOf" srcId="{5FE6B6A3-6701-488F-A726-6A9CAFF65C17}" destId="{AA458DA6-D0B9-443C-ABD5-12A7170BF190}" srcOrd="0" destOrd="0" presId="urn:microsoft.com/office/officeart/2005/8/layout/cycle3"/>
    <dgm:cxn modelId="{B8D2CF2B-B7DE-4DFD-94DD-E23B4A26D936}" srcId="{F240D6D8-7490-4844-9EB5-5379740C2075}" destId="{C82DCEF1-746B-4587-9D86-7A8A6E425CF7}" srcOrd="4" destOrd="0" parTransId="{0999C082-21E5-4CBC-B0EF-FE24F4DCE523}" sibTransId="{259BCD71-2B12-4BB6-8F18-1F888776EC78}"/>
    <dgm:cxn modelId="{4E5BE538-FE71-4D07-B6E8-BEF3A937AC8A}" type="presOf" srcId="{61B99509-AEF9-40C7-9B3A-130B7498C240}" destId="{396097A1-E9A3-459B-9481-0CFB1C7A4168}" srcOrd="0" destOrd="0" presId="urn:microsoft.com/office/officeart/2005/8/layout/cycle3"/>
    <dgm:cxn modelId="{DEA88B3B-5F49-4FF1-A7CF-BDB14C96B4E0}" type="presOf" srcId="{A720B26A-22E3-4B07-A6AC-E196D66EB2FD}" destId="{0440F1AF-C7BA-4479-9D19-310F3CA5BB3E}" srcOrd="0" destOrd="0" presId="urn:microsoft.com/office/officeart/2005/8/layout/cycle3"/>
    <dgm:cxn modelId="{2DE9F0B1-CB7B-4A1A-9DF2-B72304FCE668}" type="presOf" srcId="{A09DF805-1F57-4B5F-8F60-6E7085023EE0}" destId="{17A59CB3-C312-4804-9B27-E9EC7480DFA6}" srcOrd="0" destOrd="0" presId="urn:microsoft.com/office/officeart/2005/8/layout/cycle3"/>
    <dgm:cxn modelId="{1925E4C3-B18E-464B-A3F5-D1CA0441FCED}" srcId="{F240D6D8-7490-4844-9EB5-5379740C2075}" destId="{A720B26A-22E3-4B07-A6AC-E196D66EB2FD}" srcOrd="2" destOrd="0" parTransId="{2DA48E39-05DA-4564-813D-134F5371698C}" sibTransId="{8105AB20-2D6A-45E8-93DF-02FC44AD90CE}"/>
    <dgm:cxn modelId="{B9E248C8-9510-4806-A301-71BF2DF9C7E2}" type="presOf" srcId="{C82DCEF1-746B-4587-9D86-7A8A6E425CF7}" destId="{EA2AA3E0-8A65-4ACE-8A69-98A580E15AFC}" srcOrd="0" destOrd="0" presId="urn:microsoft.com/office/officeart/2005/8/layout/cycle3"/>
    <dgm:cxn modelId="{27AEB1D9-6986-406C-9DD2-5FB537A0D42A}" type="presOf" srcId="{86C4F57C-6535-4543-A510-66472222C53C}" destId="{80E7C151-8990-41C0-81F8-D11135D6AA76}" srcOrd="0" destOrd="0" presId="urn:microsoft.com/office/officeart/2005/8/layout/cycle3"/>
    <dgm:cxn modelId="{49AC5FE0-C60C-4CE6-829A-9D9FE435B404}" srcId="{F240D6D8-7490-4844-9EB5-5379740C2075}" destId="{61B99509-AEF9-40C7-9B3A-130B7498C240}" srcOrd="0" destOrd="0" parTransId="{D4C78FD9-D736-4CC9-BF9B-0BD7647F87AB}" sibTransId="{B941418F-917B-4ED7-BC84-29BD91B8A25A}"/>
    <dgm:cxn modelId="{EFD477FD-829C-4228-99A2-6208472B7E16}" srcId="{F240D6D8-7490-4844-9EB5-5379740C2075}" destId="{A09DF805-1F57-4B5F-8F60-6E7085023EE0}" srcOrd="1" destOrd="0" parTransId="{FFD8DFB1-EBB5-44AD-AF40-ACA01DA457FF}" sibTransId="{70ACBEE0-31E1-4B6E-9F34-E85FA085ABD0}"/>
    <dgm:cxn modelId="{E8D3216F-999D-43FD-B747-5D0698DB3389}" type="presParOf" srcId="{670F5E29-8E36-4E72-86FB-20718D82A483}" destId="{180A2BB1-DD42-4138-B077-636240A1B721}" srcOrd="0" destOrd="0" presId="urn:microsoft.com/office/officeart/2005/8/layout/cycle3"/>
    <dgm:cxn modelId="{0EA78FD4-A4D6-40AD-9151-54641C586F5D}" type="presParOf" srcId="{180A2BB1-DD42-4138-B077-636240A1B721}" destId="{396097A1-E9A3-459B-9481-0CFB1C7A4168}" srcOrd="0" destOrd="0" presId="urn:microsoft.com/office/officeart/2005/8/layout/cycle3"/>
    <dgm:cxn modelId="{C52BBD79-490A-420E-ABC7-18933E23BE34}" type="presParOf" srcId="{180A2BB1-DD42-4138-B077-636240A1B721}" destId="{5A48AAA6-5767-4857-8F42-A50639916294}" srcOrd="1" destOrd="0" presId="urn:microsoft.com/office/officeart/2005/8/layout/cycle3"/>
    <dgm:cxn modelId="{7FDE5EFC-953B-42A2-91FD-397543565DA3}" type="presParOf" srcId="{180A2BB1-DD42-4138-B077-636240A1B721}" destId="{17A59CB3-C312-4804-9B27-E9EC7480DFA6}" srcOrd="2" destOrd="0" presId="urn:microsoft.com/office/officeart/2005/8/layout/cycle3"/>
    <dgm:cxn modelId="{F88EE6BC-9415-455A-93CB-C58227C0F443}" type="presParOf" srcId="{180A2BB1-DD42-4138-B077-636240A1B721}" destId="{0440F1AF-C7BA-4479-9D19-310F3CA5BB3E}" srcOrd="3" destOrd="0" presId="urn:microsoft.com/office/officeart/2005/8/layout/cycle3"/>
    <dgm:cxn modelId="{B82375B8-DDCE-4624-ADEE-91A9D12D78D4}" type="presParOf" srcId="{180A2BB1-DD42-4138-B077-636240A1B721}" destId="{80E7C151-8990-41C0-81F8-D11135D6AA76}" srcOrd="4" destOrd="0" presId="urn:microsoft.com/office/officeart/2005/8/layout/cycle3"/>
    <dgm:cxn modelId="{73AFADC4-F055-409E-83C4-5365CC0E4C8C}" type="presParOf" srcId="{180A2BB1-DD42-4138-B077-636240A1B721}" destId="{EA2AA3E0-8A65-4ACE-8A69-98A580E15AFC}" srcOrd="5" destOrd="0" presId="urn:microsoft.com/office/officeart/2005/8/layout/cycle3"/>
    <dgm:cxn modelId="{367F2668-2270-43F5-B059-E5CCA28E5626}" type="presParOf" srcId="{180A2BB1-DD42-4138-B077-636240A1B721}" destId="{AA458DA6-D0B9-443C-ABD5-12A7170BF190}" srcOrd="6"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0B7AFB2-E349-4501-8197-11564814C653}"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000D962-A808-484B-8C7E-679C47313CA5}">
      <dgm:prSet phldrT="[Text]"/>
      <dgm:spPr>
        <a:solidFill>
          <a:srgbClr val="002060"/>
        </a:solidFill>
      </dgm:spPr>
      <dgm:t>
        <a:bodyPr/>
        <a:lstStyle/>
        <a:p>
          <a:r>
            <a:rPr lang="es-ES" b="0" i="0">
              <a:latin typeface="+mj-lt"/>
            </a:rPr>
            <a:t> FAFSA y WASFA 2024-25 estarán disponibles en diciembre</a:t>
          </a:r>
          <a:endParaRPr lang="en-US">
            <a:latin typeface="+mj-lt"/>
          </a:endParaRPr>
        </a:p>
      </dgm:t>
    </dgm:pt>
    <dgm:pt modelId="{F0AF3E58-2F92-47AD-B5B5-164F51F168F8}" type="parTrans" cxnId="{B28ADAC2-A93A-46BE-B1A6-0530288A2156}">
      <dgm:prSet/>
      <dgm:spPr/>
      <dgm:t>
        <a:bodyPr/>
        <a:lstStyle/>
        <a:p>
          <a:endParaRPr lang="en-US"/>
        </a:p>
      </dgm:t>
    </dgm:pt>
    <dgm:pt modelId="{B23A328E-CAC2-424A-AFBD-18E72DFE6DF0}" type="sibTrans" cxnId="{B28ADAC2-A93A-46BE-B1A6-0530288A2156}">
      <dgm:prSet/>
      <dgm:spPr/>
      <dgm:t>
        <a:bodyPr/>
        <a:lstStyle/>
        <a:p>
          <a:endParaRPr lang="en-US"/>
        </a:p>
      </dgm:t>
    </dgm:pt>
    <dgm:pt modelId="{F2D0F833-3978-4623-AB9B-223964BCDB12}">
      <dgm:prSet phldrT="[Text]"/>
      <dgm:spPr/>
      <dgm:t>
        <a:bodyPr/>
        <a:lstStyle/>
        <a:p>
          <a:r>
            <a:rPr lang="es-ES" b="0" i="0">
              <a:latin typeface="+mj-lt"/>
            </a:rPr>
            <a:t>2025-26 y posteriores estarán disponibles en octubre</a:t>
          </a:r>
          <a:endParaRPr lang="en-US">
            <a:latin typeface="+mj-lt"/>
          </a:endParaRPr>
        </a:p>
      </dgm:t>
    </dgm:pt>
    <dgm:pt modelId="{F39E98FC-B8DF-4411-BD3A-2B781EE576C0}" type="parTrans" cxnId="{CA348D81-A921-41A5-BEF9-8FB0D15641C1}">
      <dgm:prSet/>
      <dgm:spPr/>
      <dgm:t>
        <a:bodyPr/>
        <a:lstStyle/>
        <a:p>
          <a:endParaRPr lang="en-US"/>
        </a:p>
      </dgm:t>
    </dgm:pt>
    <dgm:pt modelId="{5887BE55-3497-4942-BC4C-427A6B56F1FF}" type="sibTrans" cxnId="{CA348D81-A921-41A5-BEF9-8FB0D15641C1}">
      <dgm:prSet/>
      <dgm:spPr/>
      <dgm:t>
        <a:bodyPr/>
        <a:lstStyle/>
        <a:p>
          <a:endParaRPr lang="en-US"/>
        </a:p>
      </dgm:t>
    </dgm:pt>
    <dgm:pt modelId="{F235FF95-D337-4A2E-9B09-0A30D6F883FF}">
      <dgm:prSet phldrT="[Text]"/>
      <dgm:spPr>
        <a:solidFill>
          <a:schemeClr val="accent3">
            <a:lumMod val="75000"/>
          </a:schemeClr>
        </a:solidFill>
      </dgm:spPr>
      <dgm:t>
        <a:bodyPr/>
        <a:lstStyle/>
        <a:p>
          <a:r>
            <a:rPr lang="es-ES">
              <a:latin typeface="+mj-lt"/>
            </a:rPr>
            <a:t>La clase del 2024 completará la FAFSA o WASFA 2024-25 utilizando la información de ingresos de 2022.</a:t>
          </a:r>
          <a:endParaRPr lang="en-US">
            <a:latin typeface="+mj-lt"/>
          </a:endParaRPr>
        </a:p>
      </dgm:t>
    </dgm:pt>
    <dgm:pt modelId="{64DEDB3F-FFFF-4CF6-BC9C-1AF7D6BB43B4}" type="parTrans" cxnId="{09A6979F-94A7-4114-B31A-C33FFBFDB788}">
      <dgm:prSet/>
      <dgm:spPr/>
      <dgm:t>
        <a:bodyPr/>
        <a:lstStyle/>
        <a:p>
          <a:endParaRPr lang="en-US"/>
        </a:p>
      </dgm:t>
    </dgm:pt>
    <dgm:pt modelId="{7C110B9B-ED89-4A2B-86BD-90C70A95B8BC}" type="sibTrans" cxnId="{09A6979F-94A7-4114-B31A-C33FFBFDB788}">
      <dgm:prSet/>
      <dgm:spPr/>
      <dgm:t>
        <a:bodyPr/>
        <a:lstStyle/>
        <a:p>
          <a:endParaRPr lang="en-US"/>
        </a:p>
      </dgm:t>
    </dgm:pt>
    <dgm:pt modelId="{E0C89FD5-07FD-4394-812D-973710E60ED3}" type="pres">
      <dgm:prSet presAssocID="{40B7AFB2-E349-4501-8197-11564814C653}" presName="diagram" presStyleCnt="0">
        <dgm:presLayoutVars>
          <dgm:dir/>
          <dgm:resizeHandles val="exact"/>
        </dgm:presLayoutVars>
      </dgm:prSet>
      <dgm:spPr/>
    </dgm:pt>
    <dgm:pt modelId="{E9FFE250-7FBD-437E-B88B-8186CAFCB872}" type="pres">
      <dgm:prSet presAssocID="{5000D962-A808-484B-8C7E-679C47313CA5}" presName="node" presStyleLbl="node1" presStyleIdx="0" presStyleCnt="3">
        <dgm:presLayoutVars>
          <dgm:bulletEnabled val="1"/>
        </dgm:presLayoutVars>
      </dgm:prSet>
      <dgm:spPr/>
    </dgm:pt>
    <dgm:pt modelId="{AF20B47D-C60D-4CE2-9699-C75D4E73DC72}" type="pres">
      <dgm:prSet presAssocID="{B23A328E-CAC2-424A-AFBD-18E72DFE6DF0}" presName="sibTrans" presStyleCnt="0"/>
      <dgm:spPr/>
    </dgm:pt>
    <dgm:pt modelId="{24954EB3-C380-4182-B666-EEB6575BB82A}" type="pres">
      <dgm:prSet presAssocID="{F2D0F833-3978-4623-AB9B-223964BCDB12}" presName="node" presStyleLbl="node1" presStyleIdx="1" presStyleCnt="3">
        <dgm:presLayoutVars>
          <dgm:bulletEnabled val="1"/>
        </dgm:presLayoutVars>
      </dgm:prSet>
      <dgm:spPr/>
    </dgm:pt>
    <dgm:pt modelId="{60A837F8-24D3-40D7-B1A2-8121CC0C5B59}" type="pres">
      <dgm:prSet presAssocID="{5887BE55-3497-4942-BC4C-427A6B56F1FF}" presName="sibTrans" presStyleCnt="0"/>
      <dgm:spPr/>
    </dgm:pt>
    <dgm:pt modelId="{2107CA9C-CC16-47C2-9DBB-B69B73877499}" type="pres">
      <dgm:prSet presAssocID="{F235FF95-D337-4A2E-9B09-0A30D6F883FF}" presName="node" presStyleLbl="node1" presStyleIdx="2" presStyleCnt="3">
        <dgm:presLayoutVars>
          <dgm:bulletEnabled val="1"/>
        </dgm:presLayoutVars>
      </dgm:prSet>
      <dgm:spPr/>
    </dgm:pt>
  </dgm:ptLst>
  <dgm:cxnLst>
    <dgm:cxn modelId="{9347E867-4761-42E4-B68C-07D540203F54}" type="presOf" srcId="{40B7AFB2-E349-4501-8197-11564814C653}" destId="{E0C89FD5-07FD-4394-812D-973710E60ED3}" srcOrd="0" destOrd="0" presId="urn:microsoft.com/office/officeart/2005/8/layout/default"/>
    <dgm:cxn modelId="{0D74046D-30E4-4D7F-B490-C1E8C6BD7520}" type="presOf" srcId="{5000D962-A808-484B-8C7E-679C47313CA5}" destId="{E9FFE250-7FBD-437E-B88B-8186CAFCB872}" srcOrd="0" destOrd="0" presId="urn:microsoft.com/office/officeart/2005/8/layout/default"/>
    <dgm:cxn modelId="{620D8E56-F660-455E-878C-8599C5EC1E6D}" type="presOf" srcId="{F2D0F833-3978-4623-AB9B-223964BCDB12}" destId="{24954EB3-C380-4182-B666-EEB6575BB82A}" srcOrd="0" destOrd="0" presId="urn:microsoft.com/office/officeart/2005/8/layout/default"/>
    <dgm:cxn modelId="{CA348D81-A921-41A5-BEF9-8FB0D15641C1}" srcId="{40B7AFB2-E349-4501-8197-11564814C653}" destId="{F2D0F833-3978-4623-AB9B-223964BCDB12}" srcOrd="1" destOrd="0" parTransId="{F39E98FC-B8DF-4411-BD3A-2B781EE576C0}" sibTransId="{5887BE55-3497-4942-BC4C-427A6B56F1FF}"/>
    <dgm:cxn modelId="{09A6979F-94A7-4114-B31A-C33FFBFDB788}" srcId="{40B7AFB2-E349-4501-8197-11564814C653}" destId="{F235FF95-D337-4A2E-9B09-0A30D6F883FF}" srcOrd="2" destOrd="0" parTransId="{64DEDB3F-FFFF-4CF6-BC9C-1AF7D6BB43B4}" sibTransId="{7C110B9B-ED89-4A2B-86BD-90C70A95B8BC}"/>
    <dgm:cxn modelId="{B28ADAC2-A93A-46BE-B1A6-0530288A2156}" srcId="{40B7AFB2-E349-4501-8197-11564814C653}" destId="{5000D962-A808-484B-8C7E-679C47313CA5}" srcOrd="0" destOrd="0" parTransId="{F0AF3E58-2F92-47AD-B5B5-164F51F168F8}" sibTransId="{B23A328E-CAC2-424A-AFBD-18E72DFE6DF0}"/>
    <dgm:cxn modelId="{AFA940CD-A2B5-42C5-A8A8-457973F0603C}" type="presOf" srcId="{F235FF95-D337-4A2E-9B09-0A30D6F883FF}" destId="{2107CA9C-CC16-47C2-9DBB-B69B73877499}" srcOrd="0" destOrd="0" presId="urn:microsoft.com/office/officeart/2005/8/layout/default"/>
    <dgm:cxn modelId="{9F48FA20-06B5-43AA-BDDF-09AFECCC4728}" type="presParOf" srcId="{E0C89FD5-07FD-4394-812D-973710E60ED3}" destId="{E9FFE250-7FBD-437E-B88B-8186CAFCB872}" srcOrd="0" destOrd="0" presId="urn:microsoft.com/office/officeart/2005/8/layout/default"/>
    <dgm:cxn modelId="{28780052-04EF-4F49-A1F4-F5685A393FCF}" type="presParOf" srcId="{E0C89FD5-07FD-4394-812D-973710E60ED3}" destId="{AF20B47D-C60D-4CE2-9699-C75D4E73DC72}" srcOrd="1" destOrd="0" presId="urn:microsoft.com/office/officeart/2005/8/layout/default"/>
    <dgm:cxn modelId="{11739512-8199-4620-B60E-3B474FBB9B2D}" type="presParOf" srcId="{E0C89FD5-07FD-4394-812D-973710E60ED3}" destId="{24954EB3-C380-4182-B666-EEB6575BB82A}" srcOrd="2" destOrd="0" presId="urn:microsoft.com/office/officeart/2005/8/layout/default"/>
    <dgm:cxn modelId="{947898B9-CC22-4594-AA52-1AAE0B1C3418}" type="presParOf" srcId="{E0C89FD5-07FD-4394-812D-973710E60ED3}" destId="{60A837F8-24D3-40D7-B1A2-8121CC0C5B59}" srcOrd="3" destOrd="0" presId="urn:microsoft.com/office/officeart/2005/8/layout/default"/>
    <dgm:cxn modelId="{005FB092-FB33-4EAE-BDA6-3AF23A692757}" type="presParOf" srcId="{E0C89FD5-07FD-4394-812D-973710E60ED3}" destId="{2107CA9C-CC16-47C2-9DBB-B69B73877499}"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933017-B2B8-4057-BC11-ADAC1829B0D0}" type="doc">
      <dgm:prSet loTypeId="urn:diagrams.loki3.com/BracketList" loCatId="list" qsTypeId="urn:microsoft.com/office/officeart/2005/8/quickstyle/simple1" qsCatId="simple" csTypeId="urn:microsoft.com/office/officeart/2005/8/colors/colorful1" csCatId="colorful" phldr="1"/>
      <dgm:spPr/>
      <dgm:t>
        <a:bodyPr/>
        <a:lstStyle/>
        <a:p>
          <a:endParaRPr lang="en-US"/>
        </a:p>
      </dgm:t>
    </dgm:pt>
    <dgm:pt modelId="{90EE5C31-096B-4B86-BD59-842FCDB6963E}">
      <dgm:prSet phldrT="[Text]" custT="1"/>
      <dgm:spPr/>
      <dgm:t>
        <a:bodyPr/>
        <a:lstStyle/>
        <a:p>
          <a:r>
            <a:rPr lang="en-US" sz="3200" err="1">
              <a:latin typeface="+mj-lt"/>
            </a:rPr>
            <a:t>Subvenciones</a:t>
          </a:r>
          <a:endParaRPr lang="en-US" sz="3200">
            <a:latin typeface="+mj-lt"/>
          </a:endParaRPr>
        </a:p>
      </dgm:t>
    </dgm:pt>
    <dgm:pt modelId="{7BF5520B-2EDC-4ADB-9F8A-01883BDC8341}" type="parTrans" cxnId="{F4028957-DF0C-4D52-8447-C18352DF5A8F}">
      <dgm:prSet/>
      <dgm:spPr/>
      <dgm:t>
        <a:bodyPr/>
        <a:lstStyle/>
        <a:p>
          <a:endParaRPr lang="en-US"/>
        </a:p>
      </dgm:t>
    </dgm:pt>
    <dgm:pt modelId="{D7B69F65-48CE-4C62-8BC0-C15B6D0760FD}" type="sibTrans" cxnId="{F4028957-DF0C-4D52-8447-C18352DF5A8F}">
      <dgm:prSet/>
      <dgm:spPr/>
      <dgm:t>
        <a:bodyPr/>
        <a:lstStyle/>
        <a:p>
          <a:endParaRPr lang="en-US"/>
        </a:p>
      </dgm:t>
    </dgm:pt>
    <dgm:pt modelId="{8E5297AC-B64C-4D83-AE52-1B8B28E09D73}">
      <dgm:prSet phldrT="[Text]" custT="1"/>
      <dgm:spPr/>
      <dgm:t>
        <a:bodyPr/>
        <a:lstStyle/>
        <a:p>
          <a:r>
            <a:rPr lang="en-US" sz="3200" err="1">
              <a:latin typeface="+mj-lt"/>
            </a:rPr>
            <a:t>Becas</a:t>
          </a:r>
          <a:endParaRPr lang="en-US" sz="3200">
            <a:latin typeface="+mj-lt"/>
          </a:endParaRPr>
        </a:p>
      </dgm:t>
    </dgm:pt>
    <dgm:pt modelId="{11161C22-1F9D-4A44-A869-C9658E0B29CC}" type="parTrans" cxnId="{54BCD3BA-CBAB-408F-BAD1-B278153C343B}">
      <dgm:prSet/>
      <dgm:spPr/>
      <dgm:t>
        <a:bodyPr/>
        <a:lstStyle/>
        <a:p>
          <a:endParaRPr lang="en-US"/>
        </a:p>
      </dgm:t>
    </dgm:pt>
    <dgm:pt modelId="{779E7DF4-873B-4359-9E78-C53FFDA9A93A}" type="sibTrans" cxnId="{54BCD3BA-CBAB-408F-BAD1-B278153C343B}">
      <dgm:prSet/>
      <dgm:spPr/>
      <dgm:t>
        <a:bodyPr/>
        <a:lstStyle/>
        <a:p>
          <a:endParaRPr lang="en-US"/>
        </a:p>
      </dgm:t>
    </dgm:pt>
    <dgm:pt modelId="{12A0940C-1483-486F-A21E-43C90258DD2F}">
      <dgm:prSet phldrT="[Text]" custT="1"/>
      <dgm:spPr/>
      <dgm:t>
        <a:bodyPr/>
        <a:lstStyle/>
        <a:p>
          <a:r>
            <a:rPr lang="en-US" sz="3200">
              <a:latin typeface="+mj-lt"/>
            </a:rPr>
            <a:t>Préstamos</a:t>
          </a:r>
        </a:p>
      </dgm:t>
    </dgm:pt>
    <dgm:pt modelId="{0213DA5C-473D-4A4A-8D9E-36118C5E7E00}" type="parTrans" cxnId="{FF4CC7A3-B32D-4625-8C3D-82CF15C4B591}">
      <dgm:prSet/>
      <dgm:spPr/>
      <dgm:t>
        <a:bodyPr/>
        <a:lstStyle/>
        <a:p>
          <a:endParaRPr lang="en-US"/>
        </a:p>
      </dgm:t>
    </dgm:pt>
    <dgm:pt modelId="{AD4D4A37-FF48-4BB8-A5C7-781CD8F01334}" type="sibTrans" cxnId="{FF4CC7A3-B32D-4625-8C3D-82CF15C4B591}">
      <dgm:prSet/>
      <dgm:spPr/>
      <dgm:t>
        <a:bodyPr/>
        <a:lstStyle/>
        <a:p>
          <a:endParaRPr lang="en-US"/>
        </a:p>
      </dgm:t>
    </dgm:pt>
    <dgm:pt modelId="{73A38630-B75F-4A17-9F22-F5BC8D1FCC6F}">
      <dgm:prSet phldrT="[Text]" custT="1"/>
      <dgm:spPr/>
      <dgm:t>
        <a:bodyPr/>
        <a:lstStyle/>
        <a:p>
          <a:r>
            <a:rPr lang="en-US" sz="3200" err="1">
              <a:latin typeface="+mj-lt"/>
            </a:rPr>
            <a:t>Trabajo</a:t>
          </a:r>
          <a:r>
            <a:rPr lang="en-US" sz="3200">
              <a:latin typeface="+mj-lt"/>
            </a:rPr>
            <a:t> y </a:t>
          </a:r>
          <a:r>
            <a:rPr lang="en-US" sz="3200" err="1">
              <a:latin typeface="+mj-lt"/>
            </a:rPr>
            <a:t>Estudio</a:t>
          </a:r>
          <a:endParaRPr lang="en-US" sz="3200">
            <a:latin typeface="+mj-lt"/>
          </a:endParaRPr>
        </a:p>
      </dgm:t>
    </dgm:pt>
    <dgm:pt modelId="{0A0D9C3D-7D4A-4723-8C26-3120605C1BA6}" type="parTrans" cxnId="{E0FD1187-C511-4AAE-99D6-A415DF5AE4C8}">
      <dgm:prSet/>
      <dgm:spPr/>
      <dgm:t>
        <a:bodyPr/>
        <a:lstStyle/>
        <a:p>
          <a:endParaRPr lang="en-US"/>
        </a:p>
      </dgm:t>
    </dgm:pt>
    <dgm:pt modelId="{1F8EAC47-10BB-4EC1-B1EC-6689416FC44A}" type="sibTrans" cxnId="{E0FD1187-C511-4AAE-99D6-A415DF5AE4C8}">
      <dgm:prSet/>
      <dgm:spPr/>
      <dgm:t>
        <a:bodyPr/>
        <a:lstStyle/>
        <a:p>
          <a:endParaRPr lang="en-US"/>
        </a:p>
      </dgm:t>
    </dgm:pt>
    <dgm:pt modelId="{16280DF5-1D3F-4B07-8B73-197128146378}">
      <dgm:prSet phldrT="[Text]" custT="1"/>
      <dgm:spPr/>
      <dgm:t>
        <a:bodyPr/>
        <a:lstStyle/>
        <a:p>
          <a:pPr algn="l"/>
          <a:r>
            <a:rPr lang="es-ES" sz="2400">
              <a:latin typeface="+mj-lt"/>
            </a:rPr>
            <a:t>Basadas en los ingresos, federales y estatales. </a:t>
          </a:r>
          <a:endParaRPr lang="en-US" sz="2400">
            <a:latin typeface="+mj-lt"/>
          </a:endParaRPr>
        </a:p>
      </dgm:t>
    </dgm:pt>
    <dgm:pt modelId="{576224BD-CF37-4140-8626-857231C94CE4}" type="parTrans" cxnId="{5197F252-4AF4-4195-92E6-A30A4B5ED413}">
      <dgm:prSet/>
      <dgm:spPr/>
      <dgm:t>
        <a:bodyPr/>
        <a:lstStyle/>
        <a:p>
          <a:endParaRPr lang="en-US">
            <a:latin typeface="+mj-lt"/>
          </a:endParaRPr>
        </a:p>
      </dgm:t>
    </dgm:pt>
    <dgm:pt modelId="{28F593D3-F45B-4D85-8307-2F9B9FDDBFA6}" type="sibTrans" cxnId="{5197F252-4AF4-4195-92E6-A30A4B5ED413}">
      <dgm:prSet/>
      <dgm:spPr/>
      <dgm:t>
        <a:bodyPr/>
        <a:lstStyle/>
        <a:p>
          <a:endParaRPr lang="en-US"/>
        </a:p>
      </dgm:t>
    </dgm:pt>
    <dgm:pt modelId="{BB51FF6F-350F-4C51-8DFE-176F415863CB}">
      <dgm:prSet phldrT="[Text]" custT="1"/>
      <dgm:spPr/>
      <dgm:t>
        <a:bodyPr/>
        <a:lstStyle/>
        <a:p>
          <a:pPr algn="l"/>
          <a:r>
            <a:rPr lang="es-ES" sz="2400">
              <a:latin typeface="+mj-lt"/>
            </a:rPr>
            <a:t>Basadas en méritos e ingresos, de fuentes públicas, privadas y sin fines de lucro. </a:t>
          </a:r>
          <a:endParaRPr lang="en-US" sz="1800">
            <a:latin typeface="+mj-lt"/>
          </a:endParaRPr>
        </a:p>
      </dgm:t>
    </dgm:pt>
    <dgm:pt modelId="{22BAF00A-6FE3-449C-A1CB-FC635858005D}" type="parTrans" cxnId="{664E889E-F6A8-4BB2-916A-5B3DB469A9F2}">
      <dgm:prSet/>
      <dgm:spPr/>
      <dgm:t>
        <a:bodyPr/>
        <a:lstStyle/>
        <a:p>
          <a:endParaRPr lang="en-US">
            <a:latin typeface="+mj-lt"/>
          </a:endParaRPr>
        </a:p>
      </dgm:t>
    </dgm:pt>
    <dgm:pt modelId="{FCCC54A1-5463-445B-B008-2596E241DC37}" type="sibTrans" cxnId="{664E889E-F6A8-4BB2-916A-5B3DB469A9F2}">
      <dgm:prSet/>
      <dgm:spPr/>
      <dgm:t>
        <a:bodyPr/>
        <a:lstStyle/>
        <a:p>
          <a:endParaRPr lang="en-US"/>
        </a:p>
      </dgm:t>
    </dgm:pt>
    <dgm:pt modelId="{D3923592-2EDB-4935-9F59-81EF8E83FCBF}">
      <dgm:prSet phldrT="[Text]" custT="1"/>
      <dgm:spPr/>
      <dgm:t>
        <a:bodyPr/>
        <a:lstStyle/>
        <a:p>
          <a:pPr algn="l"/>
          <a:r>
            <a:rPr lang="es-ES" sz="2400">
              <a:latin typeface="+mj-lt"/>
            </a:rPr>
            <a:t>Basados en ingresos, federales y privados. </a:t>
          </a:r>
          <a:endParaRPr lang="en-US" sz="2400">
            <a:latin typeface="+mj-lt"/>
          </a:endParaRPr>
        </a:p>
      </dgm:t>
    </dgm:pt>
    <dgm:pt modelId="{84E33378-229F-4E9F-A813-2BD79F769036}" type="parTrans" cxnId="{28E17EE9-E31D-4EA3-AAA4-4E23A6FCFB24}">
      <dgm:prSet/>
      <dgm:spPr/>
      <dgm:t>
        <a:bodyPr/>
        <a:lstStyle/>
        <a:p>
          <a:endParaRPr lang="en-US">
            <a:latin typeface="+mj-lt"/>
          </a:endParaRPr>
        </a:p>
      </dgm:t>
    </dgm:pt>
    <dgm:pt modelId="{68602D0D-1747-42DF-B170-CCD7F41A347A}" type="sibTrans" cxnId="{28E17EE9-E31D-4EA3-AAA4-4E23A6FCFB24}">
      <dgm:prSet/>
      <dgm:spPr/>
      <dgm:t>
        <a:bodyPr/>
        <a:lstStyle/>
        <a:p>
          <a:endParaRPr lang="en-US"/>
        </a:p>
      </dgm:t>
    </dgm:pt>
    <dgm:pt modelId="{9C7CC5E2-A2E5-4EC1-AFEC-3CE9DD83CE54}">
      <dgm:prSet phldrT="[Text]" custT="1"/>
      <dgm:spPr/>
      <dgm:t>
        <a:bodyPr/>
        <a:lstStyle/>
        <a:p>
          <a:pPr algn="l"/>
          <a:r>
            <a:rPr lang="es-ES" sz="2400">
              <a:latin typeface="+mj-lt"/>
            </a:rPr>
            <a:t>Basado en ingresos, federal y estatal.</a:t>
          </a:r>
          <a:endParaRPr lang="en-US" sz="2400">
            <a:latin typeface="+mj-lt"/>
          </a:endParaRPr>
        </a:p>
      </dgm:t>
    </dgm:pt>
    <dgm:pt modelId="{8EA6CB68-BDE9-4FC3-B8B5-CA17BFF65963}" type="parTrans" cxnId="{A7CD240D-430F-4C12-90F3-9C23EC0FE8DD}">
      <dgm:prSet/>
      <dgm:spPr/>
      <dgm:t>
        <a:bodyPr/>
        <a:lstStyle/>
        <a:p>
          <a:endParaRPr lang="en-US">
            <a:latin typeface="+mj-lt"/>
          </a:endParaRPr>
        </a:p>
      </dgm:t>
    </dgm:pt>
    <dgm:pt modelId="{DFEFC90F-09E0-4A8A-88E6-D649CDDAD4E1}" type="sibTrans" cxnId="{A7CD240D-430F-4C12-90F3-9C23EC0FE8DD}">
      <dgm:prSet/>
      <dgm:spPr/>
      <dgm:t>
        <a:bodyPr/>
        <a:lstStyle/>
        <a:p>
          <a:endParaRPr lang="en-US"/>
        </a:p>
      </dgm:t>
    </dgm:pt>
    <dgm:pt modelId="{F6F37ABE-EFE8-4824-A259-A31D992E1E10}" type="pres">
      <dgm:prSet presAssocID="{FA933017-B2B8-4057-BC11-ADAC1829B0D0}" presName="Name0" presStyleCnt="0">
        <dgm:presLayoutVars>
          <dgm:dir/>
          <dgm:animLvl val="lvl"/>
          <dgm:resizeHandles val="exact"/>
        </dgm:presLayoutVars>
      </dgm:prSet>
      <dgm:spPr/>
    </dgm:pt>
    <dgm:pt modelId="{A41F3795-2D96-4294-8E1C-5B2C1941E92F}" type="pres">
      <dgm:prSet presAssocID="{90EE5C31-096B-4B86-BD59-842FCDB6963E}" presName="linNode" presStyleCnt="0"/>
      <dgm:spPr/>
    </dgm:pt>
    <dgm:pt modelId="{FAD5B654-FEB8-4E32-B746-763FB1A5A16A}" type="pres">
      <dgm:prSet presAssocID="{90EE5C31-096B-4B86-BD59-842FCDB6963E}" presName="parTx" presStyleLbl="revTx" presStyleIdx="0" presStyleCnt="4">
        <dgm:presLayoutVars>
          <dgm:chMax val="1"/>
          <dgm:bulletEnabled val="1"/>
        </dgm:presLayoutVars>
      </dgm:prSet>
      <dgm:spPr/>
    </dgm:pt>
    <dgm:pt modelId="{2FD81F2E-18BD-4F16-8641-D95F02166BFA}" type="pres">
      <dgm:prSet presAssocID="{90EE5C31-096B-4B86-BD59-842FCDB6963E}" presName="bracket" presStyleLbl="parChTrans1D1" presStyleIdx="0" presStyleCnt="4"/>
      <dgm:spPr/>
    </dgm:pt>
    <dgm:pt modelId="{CA879974-876D-460D-BA95-4EA13424B89D}" type="pres">
      <dgm:prSet presAssocID="{90EE5C31-096B-4B86-BD59-842FCDB6963E}" presName="spH" presStyleCnt="0"/>
      <dgm:spPr/>
    </dgm:pt>
    <dgm:pt modelId="{2703E705-0B03-4174-B8A0-7C6F22E6F6AD}" type="pres">
      <dgm:prSet presAssocID="{90EE5C31-096B-4B86-BD59-842FCDB6963E}" presName="desTx" presStyleLbl="node1" presStyleIdx="0" presStyleCnt="4" custLinFactNeighborY="4684">
        <dgm:presLayoutVars>
          <dgm:bulletEnabled val="1"/>
        </dgm:presLayoutVars>
      </dgm:prSet>
      <dgm:spPr/>
    </dgm:pt>
    <dgm:pt modelId="{4D3E3842-BF0E-4F96-B4DA-157BD4C6C5EC}" type="pres">
      <dgm:prSet presAssocID="{D7B69F65-48CE-4C62-8BC0-C15B6D0760FD}" presName="spV" presStyleCnt="0"/>
      <dgm:spPr/>
    </dgm:pt>
    <dgm:pt modelId="{EDD78874-4F1B-4574-BAD8-0D121083F3D0}" type="pres">
      <dgm:prSet presAssocID="{8E5297AC-B64C-4D83-AE52-1B8B28E09D73}" presName="linNode" presStyleCnt="0"/>
      <dgm:spPr/>
    </dgm:pt>
    <dgm:pt modelId="{56EE09C3-C486-4583-A78E-BBB2B30395F5}" type="pres">
      <dgm:prSet presAssocID="{8E5297AC-B64C-4D83-AE52-1B8B28E09D73}" presName="parTx" presStyleLbl="revTx" presStyleIdx="1" presStyleCnt="4">
        <dgm:presLayoutVars>
          <dgm:chMax val="1"/>
          <dgm:bulletEnabled val="1"/>
        </dgm:presLayoutVars>
      </dgm:prSet>
      <dgm:spPr/>
    </dgm:pt>
    <dgm:pt modelId="{91DF9F53-75B6-4E19-8D46-ABB4E2152961}" type="pres">
      <dgm:prSet presAssocID="{8E5297AC-B64C-4D83-AE52-1B8B28E09D73}" presName="bracket" presStyleLbl="parChTrans1D1" presStyleIdx="1" presStyleCnt="4"/>
      <dgm:spPr/>
    </dgm:pt>
    <dgm:pt modelId="{5FE10304-C8D8-4C2C-BEC1-8E3C1777207E}" type="pres">
      <dgm:prSet presAssocID="{8E5297AC-B64C-4D83-AE52-1B8B28E09D73}" presName="spH" presStyleCnt="0"/>
      <dgm:spPr/>
    </dgm:pt>
    <dgm:pt modelId="{ABDBBDCF-8A60-4303-A17C-04E42FDD3835}" type="pres">
      <dgm:prSet presAssocID="{8E5297AC-B64C-4D83-AE52-1B8B28E09D73}" presName="desTx" presStyleLbl="node1" presStyleIdx="1" presStyleCnt="4">
        <dgm:presLayoutVars>
          <dgm:bulletEnabled val="1"/>
        </dgm:presLayoutVars>
      </dgm:prSet>
      <dgm:spPr/>
    </dgm:pt>
    <dgm:pt modelId="{07AA5BC4-FEEC-47F2-A9F3-0DEA35615258}" type="pres">
      <dgm:prSet presAssocID="{779E7DF4-873B-4359-9E78-C53FFDA9A93A}" presName="spV" presStyleCnt="0"/>
      <dgm:spPr/>
    </dgm:pt>
    <dgm:pt modelId="{E52B1E3B-F31B-4367-8373-55078DEEADC2}" type="pres">
      <dgm:prSet presAssocID="{12A0940C-1483-486F-A21E-43C90258DD2F}" presName="linNode" presStyleCnt="0"/>
      <dgm:spPr/>
    </dgm:pt>
    <dgm:pt modelId="{93403FB3-33D5-4C8B-AA32-D75B19FB710D}" type="pres">
      <dgm:prSet presAssocID="{12A0940C-1483-486F-A21E-43C90258DD2F}" presName="parTx" presStyleLbl="revTx" presStyleIdx="2" presStyleCnt="4">
        <dgm:presLayoutVars>
          <dgm:chMax val="1"/>
          <dgm:bulletEnabled val="1"/>
        </dgm:presLayoutVars>
      </dgm:prSet>
      <dgm:spPr/>
    </dgm:pt>
    <dgm:pt modelId="{F7CC5CB3-2D75-4147-BA7F-40D21C0E20E4}" type="pres">
      <dgm:prSet presAssocID="{12A0940C-1483-486F-A21E-43C90258DD2F}" presName="bracket" presStyleLbl="parChTrans1D1" presStyleIdx="2" presStyleCnt="4"/>
      <dgm:spPr/>
    </dgm:pt>
    <dgm:pt modelId="{1E13F1C3-BACA-47E8-A9AA-2AE02F216AF3}" type="pres">
      <dgm:prSet presAssocID="{12A0940C-1483-486F-A21E-43C90258DD2F}" presName="spH" presStyleCnt="0"/>
      <dgm:spPr/>
    </dgm:pt>
    <dgm:pt modelId="{0D63E467-6CB0-4EB5-A08F-BC86FE6758EF}" type="pres">
      <dgm:prSet presAssocID="{12A0940C-1483-486F-A21E-43C90258DD2F}" presName="desTx" presStyleLbl="node1" presStyleIdx="2" presStyleCnt="4">
        <dgm:presLayoutVars>
          <dgm:bulletEnabled val="1"/>
        </dgm:presLayoutVars>
      </dgm:prSet>
      <dgm:spPr/>
    </dgm:pt>
    <dgm:pt modelId="{0900608A-A045-4A36-A3B9-DA523FEA5579}" type="pres">
      <dgm:prSet presAssocID="{AD4D4A37-FF48-4BB8-A5C7-781CD8F01334}" presName="spV" presStyleCnt="0"/>
      <dgm:spPr/>
    </dgm:pt>
    <dgm:pt modelId="{563E13D8-AC22-4BAD-A6DD-EF2C77C409CA}" type="pres">
      <dgm:prSet presAssocID="{73A38630-B75F-4A17-9F22-F5BC8D1FCC6F}" presName="linNode" presStyleCnt="0"/>
      <dgm:spPr/>
    </dgm:pt>
    <dgm:pt modelId="{23100991-60CA-4572-8BDF-8E00DA802B54}" type="pres">
      <dgm:prSet presAssocID="{73A38630-B75F-4A17-9F22-F5BC8D1FCC6F}" presName="parTx" presStyleLbl="revTx" presStyleIdx="3" presStyleCnt="4">
        <dgm:presLayoutVars>
          <dgm:chMax val="1"/>
          <dgm:bulletEnabled val="1"/>
        </dgm:presLayoutVars>
      </dgm:prSet>
      <dgm:spPr/>
    </dgm:pt>
    <dgm:pt modelId="{467119F5-1DD1-4F75-BADB-387AD4E21238}" type="pres">
      <dgm:prSet presAssocID="{73A38630-B75F-4A17-9F22-F5BC8D1FCC6F}" presName="bracket" presStyleLbl="parChTrans1D1" presStyleIdx="3" presStyleCnt="4"/>
      <dgm:spPr/>
    </dgm:pt>
    <dgm:pt modelId="{99807424-68BF-4868-90BA-34D6AF7DCE8A}" type="pres">
      <dgm:prSet presAssocID="{73A38630-B75F-4A17-9F22-F5BC8D1FCC6F}" presName="spH" presStyleCnt="0"/>
      <dgm:spPr/>
    </dgm:pt>
    <dgm:pt modelId="{8F2AEA0C-0AE6-4728-B17D-AB8E113EB58C}" type="pres">
      <dgm:prSet presAssocID="{73A38630-B75F-4A17-9F22-F5BC8D1FCC6F}" presName="desTx" presStyleLbl="node1" presStyleIdx="3" presStyleCnt="4" custLinFactNeighborX="4692" custLinFactNeighborY="2311">
        <dgm:presLayoutVars>
          <dgm:bulletEnabled val="1"/>
        </dgm:presLayoutVars>
      </dgm:prSet>
      <dgm:spPr/>
    </dgm:pt>
  </dgm:ptLst>
  <dgm:cxnLst>
    <dgm:cxn modelId="{A7CD240D-430F-4C12-90F3-9C23EC0FE8DD}" srcId="{73A38630-B75F-4A17-9F22-F5BC8D1FCC6F}" destId="{9C7CC5E2-A2E5-4EC1-AFEC-3CE9DD83CE54}" srcOrd="0" destOrd="0" parTransId="{8EA6CB68-BDE9-4FC3-B8B5-CA17BFF65963}" sibTransId="{DFEFC90F-09E0-4A8A-88E6-D649CDDAD4E1}"/>
    <dgm:cxn modelId="{01B36A16-6AB6-477D-BCEA-4EAEBF2C8B22}" type="presOf" srcId="{90EE5C31-096B-4B86-BD59-842FCDB6963E}" destId="{FAD5B654-FEB8-4E32-B746-763FB1A5A16A}" srcOrd="0" destOrd="0" presId="urn:diagrams.loki3.com/BracketList"/>
    <dgm:cxn modelId="{C853C831-EC89-44D3-8289-07CC0F5CBE4D}" type="presOf" srcId="{FA933017-B2B8-4057-BC11-ADAC1829B0D0}" destId="{F6F37ABE-EFE8-4824-A259-A31D992E1E10}" srcOrd="0" destOrd="0" presId="urn:diagrams.loki3.com/BracketList"/>
    <dgm:cxn modelId="{5197F252-4AF4-4195-92E6-A30A4B5ED413}" srcId="{90EE5C31-096B-4B86-BD59-842FCDB6963E}" destId="{16280DF5-1D3F-4B07-8B73-197128146378}" srcOrd="0" destOrd="0" parTransId="{576224BD-CF37-4140-8626-857231C94CE4}" sibTransId="{28F593D3-F45B-4D85-8307-2F9B9FDDBFA6}"/>
    <dgm:cxn modelId="{F4028957-DF0C-4D52-8447-C18352DF5A8F}" srcId="{FA933017-B2B8-4057-BC11-ADAC1829B0D0}" destId="{90EE5C31-096B-4B86-BD59-842FCDB6963E}" srcOrd="0" destOrd="0" parTransId="{7BF5520B-2EDC-4ADB-9F8A-01883BDC8341}" sibTransId="{D7B69F65-48CE-4C62-8BC0-C15B6D0760FD}"/>
    <dgm:cxn modelId="{E0FD1187-C511-4AAE-99D6-A415DF5AE4C8}" srcId="{FA933017-B2B8-4057-BC11-ADAC1829B0D0}" destId="{73A38630-B75F-4A17-9F22-F5BC8D1FCC6F}" srcOrd="3" destOrd="0" parTransId="{0A0D9C3D-7D4A-4723-8C26-3120605C1BA6}" sibTransId="{1F8EAC47-10BB-4EC1-B1EC-6689416FC44A}"/>
    <dgm:cxn modelId="{5A680B8D-3290-4608-A80F-124B85BB909B}" type="presOf" srcId="{9C7CC5E2-A2E5-4EC1-AFEC-3CE9DD83CE54}" destId="{8F2AEA0C-0AE6-4728-B17D-AB8E113EB58C}" srcOrd="0" destOrd="0" presId="urn:diagrams.loki3.com/BracketList"/>
    <dgm:cxn modelId="{664E889E-F6A8-4BB2-916A-5B3DB469A9F2}" srcId="{8E5297AC-B64C-4D83-AE52-1B8B28E09D73}" destId="{BB51FF6F-350F-4C51-8DFE-176F415863CB}" srcOrd="0" destOrd="0" parTransId="{22BAF00A-6FE3-449C-A1CB-FC635858005D}" sibTransId="{FCCC54A1-5463-445B-B008-2596E241DC37}"/>
    <dgm:cxn modelId="{977459A0-5E93-430D-B800-233493C3B02E}" type="presOf" srcId="{D3923592-2EDB-4935-9F59-81EF8E83FCBF}" destId="{0D63E467-6CB0-4EB5-A08F-BC86FE6758EF}" srcOrd="0" destOrd="0" presId="urn:diagrams.loki3.com/BracketList"/>
    <dgm:cxn modelId="{FF4CC7A3-B32D-4625-8C3D-82CF15C4B591}" srcId="{FA933017-B2B8-4057-BC11-ADAC1829B0D0}" destId="{12A0940C-1483-486F-A21E-43C90258DD2F}" srcOrd="2" destOrd="0" parTransId="{0213DA5C-473D-4A4A-8D9E-36118C5E7E00}" sibTransId="{AD4D4A37-FF48-4BB8-A5C7-781CD8F01334}"/>
    <dgm:cxn modelId="{667F4BAB-2504-42ED-834D-5A3FB7361AAF}" type="presOf" srcId="{16280DF5-1D3F-4B07-8B73-197128146378}" destId="{2703E705-0B03-4174-B8A0-7C6F22E6F6AD}" srcOrd="0" destOrd="0" presId="urn:diagrams.loki3.com/BracketList"/>
    <dgm:cxn modelId="{06B317B8-9E1E-46D4-8B4C-F47E25A8984B}" type="presOf" srcId="{BB51FF6F-350F-4C51-8DFE-176F415863CB}" destId="{ABDBBDCF-8A60-4303-A17C-04E42FDD3835}" srcOrd="0" destOrd="0" presId="urn:diagrams.loki3.com/BracketList"/>
    <dgm:cxn modelId="{54BCD3BA-CBAB-408F-BAD1-B278153C343B}" srcId="{FA933017-B2B8-4057-BC11-ADAC1829B0D0}" destId="{8E5297AC-B64C-4D83-AE52-1B8B28E09D73}" srcOrd="1" destOrd="0" parTransId="{11161C22-1F9D-4A44-A869-C9658E0B29CC}" sibTransId="{779E7DF4-873B-4359-9E78-C53FFDA9A93A}"/>
    <dgm:cxn modelId="{45318ACE-1115-4093-B0A7-50C7FDE9D7F1}" type="presOf" srcId="{8E5297AC-B64C-4D83-AE52-1B8B28E09D73}" destId="{56EE09C3-C486-4583-A78E-BBB2B30395F5}" srcOrd="0" destOrd="0" presId="urn:diagrams.loki3.com/BracketList"/>
    <dgm:cxn modelId="{8D403BE9-D1D2-49F1-A07F-8608BDAE31DD}" type="presOf" srcId="{12A0940C-1483-486F-A21E-43C90258DD2F}" destId="{93403FB3-33D5-4C8B-AA32-D75B19FB710D}" srcOrd="0" destOrd="0" presId="urn:diagrams.loki3.com/BracketList"/>
    <dgm:cxn modelId="{28E17EE9-E31D-4EA3-AAA4-4E23A6FCFB24}" srcId="{12A0940C-1483-486F-A21E-43C90258DD2F}" destId="{D3923592-2EDB-4935-9F59-81EF8E83FCBF}" srcOrd="0" destOrd="0" parTransId="{84E33378-229F-4E9F-A813-2BD79F769036}" sibTransId="{68602D0D-1747-42DF-B170-CCD7F41A347A}"/>
    <dgm:cxn modelId="{E36BD3F0-C7FB-4EA0-907A-1E4653BC6DCC}" type="presOf" srcId="{73A38630-B75F-4A17-9F22-F5BC8D1FCC6F}" destId="{23100991-60CA-4572-8BDF-8E00DA802B54}" srcOrd="0" destOrd="0" presId="urn:diagrams.loki3.com/BracketList"/>
    <dgm:cxn modelId="{CEB0E33E-E17D-4D8B-B90F-8703E96C5D98}" type="presParOf" srcId="{F6F37ABE-EFE8-4824-A259-A31D992E1E10}" destId="{A41F3795-2D96-4294-8E1C-5B2C1941E92F}" srcOrd="0" destOrd="0" presId="urn:diagrams.loki3.com/BracketList"/>
    <dgm:cxn modelId="{22F811A6-8C1D-4CFC-812C-C271BA3CB2D6}" type="presParOf" srcId="{A41F3795-2D96-4294-8E1C-5B2C1941E92F}" destId="{FAD5B654-FEB8-4E32-B746-763FB1A5A16A}" srcOrd="0" destOrd="0" presId="urn:diagrams.loki3.com/BracketList"/>
    <dgm:cxn modelId="{BC68EA96-6EB3-4B54-8DF6-01B044A4EEB6}" type="presParOf" srcId="{A41F3795-2D96-4294-8E1C-5B2C1941E92F}" destId="{2FD81F2E-18BD-4F16-8641-D95F02166BFA}" srcOrd="1" destOrd="0" presId="urn:diagrams.loki3.com/BracketList"/>
    <dgm:cxn modelId="{12ADF30C-FFF7-4148-9612-D188B5B332EF}" type="presParOf" srcId="{A41F3795-2D96-4294-8E1C-5B2C1941E92F}" destId="{CA879974-876D-460D-BA95-4EA13424B89D}" srcOrd="2" destOrd="0" presId="urn:diagrams.loki3.com/BracketList"/>
    <dgm:cxn modelId="{71614880-295E-4406-A102-BBB1BB939BE0}" type="presParOf" srcId="{A41F3795-2D96-4294-8E1C-5B2C1941E92F}" destId="{2703E705-0B03-4174-B8A0-7C6F22E6F6AD}" srcOrd="3" destOrd="0" presId="urn:diagrams.loki3.com/BracketList"/>
    <dgm:cxn modelId="{F8DEEB5C-0E27-44BF-8B26-C6B5638AEDAD}" type="presParOf" srcId="{F6F37ABE-EFE8-4824-A259-A31D992E1E10}" destId="{4D3E3842-BF0E-4F96-B4DA-157BD4C6C5EC}" srcOrd="1" destOrd="0" presId="urn:diagrams.loki3.com/BracketList"/>
    <dgm:cxn modelId="{6C85CFAE-A8EC-4E9C-9AAA-120DEA33F12A}" type="presParOf" srcId="{F6F37ABE-EFE8-4824-A259-A31D992E1E10}" destId="{EDD78874-4F1B-4574-BAD8-0D121083F3D0}" srcOrd="2" destOrd="0" presId="urn:diagrams.loki3.com/BracketList"/>
    <dgm:cxn modelId="{A9A3F891-CE3F-417F-ACFC-2FCC09C440AD}" type="presParOf" srcId="{EDD78874-4F1B-4574-BAD8-0D121083F3D0}" destId="{56EE09C3-C486-4583-A78E-BBB2B30395F5}" srcOrd="0" destOrd="0" presId="urn:diagrams.loki3.com/BracketList"/>
    <dgm:cxn modelId="{8FCE934E-D0E3-4AE9-9AC7-B33769F467B3}" type="presParOf" srcId="{EDD78874-4F1B-4574-BAD8-0D121083F3D0}" destId="{91DF9F53-75B6-4E19-8D46-ABB4E2152961}" srcOrd="1" destOrd="0" presId="urn:diagrams.loki3.com/BracketList"/>
    <dgm:cxn modelId="{423732A2-F3A4-40A8-9B09-3F72D31F5A67}" type="presParOf" srcId="{EDD78874-4F1B-4574-BAD8-0D121083F3D0}" destId="{5FE10304-C8D8-4C2C-BEC1-8E3C1777207E}" srcOrd="2" destOrd="0" presId="urn:diagrams.loki3.com/BracketList"/>
    <dgm:cxn modelId="{0E9EBE0D-FBD6-4C3B-836E-C064259A7EAA}" type="presParOf" srcId="{EDD78874-4F1B-4574-BAD8-0D121083F3D0}" destId="{ABDBBDCF-8A60-4303-A17C-04E42FDD3835}" srcOrd="3" destOrd="0" presId="urn:diagrams.loki3.com/BracketList"/>
    <dgm:cxn modelId="{6ED018EE-B19E-4C07-ADBE-F94C1FCA67F6}" type="presParOf" srcId="{F6F37ABE-EFE8-4824-A259-A31D992E1E10}" destId="{07AA5BC4-FEEC-47F2-A9F3-0DEA35615258}" srcOrd="3" destOrd="0" presId="urn:diagrams.loki3.com/BracketList"/>
    <dgm:cxn modelId="{1F45CEC4-9A24-49EA-BA52-226BF879D73D}" type="presParOf" srcId="{F6F37ABE-EFE8-4824-A259-A31D992E1E10}" destId="{E52B1E3B-F31B-4367-8373-55078DEEADC2}" srcOrd="4" destOrd="0" presId="urn:diagrams.loki3.com/BracketList"/>
    <dgm:cxn modelId="{B2D9A9F2-9A6E-427D-B038-A200565B34DA}" type="presParOf" srcId="{E52B1E3B-F31B-4367-8373-55078DEEADC2}" destId="{93403FB3-33D5-4C8B-AA32-D75B19FB710D}" srcOrd="0" destOrd="0" presId="urn:diagrams.loki3.com/BracketList"/>
    <dgm:cxn modelId="{75CD31B5-8148-473E-86DE-71F1F6DA1391}" type="presParOf" srcId="{E52B1E3B-F31B-4367-8373-55078DEEADC2}" destId="{F7CC5CB3-2D75-4147-BA7F-40D21C0E20E4}" srcOrd="1" destOrd="0" presId="urn:diagrams.loki3.com/BracketList"/>
    <dgm:cxn modelId="{FE7E9864-1D51-4F25-AB43-E28F0A88CCD6}" type="presParOf" srcId="{E52B1E3B-F31B-4367-8373-55078DEEADC2}" destId="{1E13F1C3-BACA-47E8-A9AA-2AE02F216AF3}" srcOrd="2" destOrd="0" presId="urn:diagrams.loki3.com/BracketList"/>
    <dgm:cxn modelId="{ADD96E4D-3A1C-4ACC-B88F-DDD842F4A63F}" type="presParOf" srcId="{E52B1E3B-F31B-4367-8373-55078DEEADC2}" destId="{0D63E467-6CB0-4EB5-A08F-BC86FE6758EF}" srcOrd="3" destOrd="0" presId="urn:diagrams.loki3.com/BracketList"/>
    <dgm:cxn modelId="{0EFDDB30-0063-434C-9351-22987C809B3E}" type="presParOf" srcId="{F6F37ABE-EFE8-4824-A259-A31D992E1E10}" destId="{0900608A-A045-4A36-A3B9-DA523FEA5579}" srcOrd="5" destOrd="0" presId="urn:diagrams.loki3.com/BracketList"/>
    <dgm:cxn modelId="{8515F13B-C689-4A68-BC00-3CE515F3C4DA}" type="presParOf" srcId="{F6F37ABE-EFE8-4824-A259-A31D992E1E10}" destId="{563E13D8-AC22-4BAD-A6DD-EF2C77C409CA}" srcOrd="6" destOrd="0" presId="urn:diagrams.loki3.com/BracketList"/>
    <dgm:cxn modelId="{F34A92E4-D768-4BD7-A2EC-6DC0A01C4706}" type="presParOf" srcId="{563E13D8-AC22-4BAD-A6DD-EF2C77C409CA}" destId="{23100991-60CA-4572-8BDF-8E00DA802B54}" srcOrd="0" destOrd="0" presId="urn:diagrams.loki3.com/BracketList"/>
    <dgm:cxn modelId="{B97F98CE-8522-4630-8B5F-3532ACC1A54D}" type="presParOf" srcId="{563E13D8-AC22-4BAD-A6DD-EF2C77C409CA}" destId="{467119F5-1DD1-4F75-BADB-387AD4E21238}" srcOrd="1" destOrd="0" presId="urn:diagrams.loki3.com/BracketList"/>
    <dgm:cxn modelId="{D8914B94-7315-4513-95B0-7C842A37392A}" type="presParOf" srcId="{563E13D8-AC22-4BAD-A6DD-EF2C77C409CA}" destId="{99807424-68BF-4868-90BA-34D6AF7DCE8A}" srcOrd="2" destOrd="0" presId="urn:diagrams.loki3.com/BracketList"/>
    <dgm:cxn modelId="{E1EA289C-DF4F-45E4-9023-9D334B0FA3F4}" type="presParOf" srcId="{563E13D8-AC22-4BAD-A6DD-EF2C77C409CA}" destId="{8F2AEA0C-0AE6-4728-B17D-AB8E113EB58C}" srcOrd="3" destOrd="0" presId="urn:diagrams.loki3.com/Bracket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81B89AD-3F73-4990-9D74-E8ADE629666B}"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en-US"/>
        </a:p>
      </dgm:t>
    </dgm:pt>
    <dgm:pt modelId="{D65A3CC5-8590-4BFD-8DF2-29C9B465C4E1}">
      <dgm:prSet phldrT="[Text]" custT="1"/>
      <dgm:spPr/>
      <dgm:t>
        <a:bodyPr/>
        <a:lstStyle/>
        <a:p>
          <a:r>
            <a:rPr lang="en-US" sz="2900" b="1">
              <a:latin typeface="+mj-lt"/>
            </a:rPr>
            <a:t>Explore Sus </a:t>
          </a:r>
          <a:r>
            <a:rPr lang="en-US" sz="2900" b="1" err="1">
              <a:latin typeface="+mj-lt"/>
            </a:rPr>
            <a:t>Opciones</a:t>
          </a:r>
          <a:endParaRPr lang="en-US" sz="2900">
            <a:latin typeface="+mj-lt"/>
          </a:endParaRPr>
        </a:p>
      </dgm:t>
    </dgm:pt>
    <dgm:pt modelId="{F2AEE115-7E29-4463-82E6-A2DF7567C7CB}" type="parTrans" cxnId="{CE220BB7-2078-4310-8738-BA589720ACDD}">
      <dgm:prSet/>
      <dgm:spPr/>
      <dgm:t>
        <a:bodyPr/>
        <a:lstStyle/>
        <a:p>
          <a:endParaRPr lang="en-US"/>
        </a:p>
      </dgm:t>
    </dgm:pt>
    <dgm:pt modelId="{D53FD6B6-CC5C-4AD5-9892-7E8A4546E29C}" type="sibTrans" cxnId="{CE220BB7-2078-4310-8738-BA589720ACDD}">
      <dgm:prSet/>
      <dgm:spPr/>
      <dgm:t>
        <a:bodyPr/>
        <a:lstStyle/>
        <a:p>
          <a:endParaRPr lang="en-US"/>
        </a:p>
      </dgm:t>
    </dgm:pt>
    <dgm:pt modelId="{3262C2F3-E5CB-418F-9C31-33CEB313C703}">
      <dgm:prSet custT="1"/>
      <dgm:spPr/>
      <dgm:t>
        <a:bodyPr/>
        <a:lstStyle/>
        <a:p>
          <a:r>
            <a:rPr lang="es-ES" sz="2900" b="1">
              <a:latin typeface="+mj-lt"/>
            </a:rPr>
            <a:t>Determine qué Solicitud de Ayuda Financiera Usar</a:t>
          </a:r>
          <a:endParaRPr lang="en-US" sz="2900" b="1">
            <a:latin typeface="+mj-lt"/>
          </a:endParaRPr>
        </a:p>
      </dgm:t>
    </dgm:pt>
    <dgm:pt modelId="{6E165511-F5B0-4210-B004-9BB1724C1457}" type="parTrans" cxnId="{7D95A29B-4528-4B7A-88AF-DC9D5C235C89}">
      <dgm:prSet/>
      <dgm:spPr/>
      <dgm:t>
        <a:bodyPr/>
        <a:lstStyle/>
        <a:p>
          <a:endParaRPr lang="en-US"/>
        </a:p>
      </dgm:t>
    </dgm:pt>
    <dgm:pt modelId="{8EB237BF-F4B3-44DE-B5E5-E76BBDC72EC8}" type="sibTrans" cxnId="{7D95A29B-4528-4B7A-88AF-DC9D5C235C89}">
      <dgm:prSet/>
      <dgm:spPr/>
      <dgm:t>
        <a:bodyPr/>
        <a:lstStyle/>
        <a:p>
          <a:endParaRPr lang="en-US"/>
        </a:p>
      </dgm:t>
    </dgm:pt>
    <dgm:pt modelId="{BF029153-58F8-42CA-970C-30AE7C2393BF}">
      <dgm:prSet custT="1"/>
      <dgm:spPr/>
      <dgm:t>
        <a:bodyPr/>
        <a:lstStyle/>
        <a:p>
          <a:r>
            <a:rPr lang="es-ES" sz="2400">
              <a:solidFill>
                <a:schemeClr val="tx1"/>
              </a:solidFill>
              <a:latin typeface="+mj-lt"/>
            </a:rPr>
            <a:t>Si no está seguro de qué solicitud completar, vaya a </a:t>
          </a:r>
          <a:r>
            <a:rPr lang="es-ES" sz="2400">
              <a:solidFill>
                <a:schemeClr val="tx1"/>
              </a:solidFill>
              <a:latin typeface="+mj-lt"/>
              <a:hlinkClick xmlns:r="http://schemas.openxmlformats.org/officeDocument/2006/relationships" r:id="rId1"/>
            </a:rPr>
            <a:t>https://wsac.wa.gov/WASFAelig</a:t>
          </a:r>
          <a:endParaRPr lang="en-US" sz="2400">
            <a:solidFill>
              <a:schemeClr val="tx1"/>
            </a:solidFill>
            <a:latin typeface="+mj-lt"/>
          </a:endParaRPr>
        </a:p>
      </dgm:t>
    </dgm:pt>
    <dgm:pt modelId="{59C732EF-9465-4999-BABE-2C6FB3C3BCA1}" type="parTrans" cxnId="{19EF3585-E76F-4722-9587-F9A5BAFAADBC}">
      <dgm:prSet/>
      <dgm:spPr/>
      <dgm:t>
        <a:bodyPr/>
        <a:lstStyle/>
        <a:p>
          <a:endParaRPr lang="en-US"/>
        </a:p>
      </dgm:t>
    </dgm:pt>
    <dgm:pt modelId="{6F211C7A-B018-4888-8E19-5B0F2920628E}" type="sibTrans" cxnId="{19EF3585-E76F-4722-9587-F9A5BAFAADBC}">
      <dgm:prSet/>
      <dgm:spPr/>
      <dgm:t>
        <a:bodyPr/>
        <a:lstStyle/>
        <a:p>
          <a:endParaRPr lang="en-US"/>
        </a:p>
      </dgm:t>
    </dgm:pt>
    <dgm:pt modelId="{09A6FE77-E71D-41CA-B3F8-74C367B4CD82}">
      <dgm:prSet custT="1"/>
      <dgm:spPr/>
      <dgm:t>
        <a:bodyPr/>
        <a:lstStyle/>
        <a:p>
          <a:r>
            <a:rPr lang="es-ES" sz="2900" b="1">
              <a:latin typeface="+mj-lt"/>
            </a:rPr>
            <a:t>Crear una Cuenta FSA ID o WASFA</a:t>
          </a:r>
          <a:endParaRPr lang="en-US" sz="2900" b="1">
            <a:latin typeface="+mj-lt"/>
          </a:endParaRPr>
        </a:p>
      </dgm:t>
    </dgm:pt>
    <dgm:pt modelId="{8286034B-1442-4028-A49C-12D15D252EE6}" type="parTrans" cxnId="{2A4D23E4-7217-466E-8A17-DAB7A81123A4}">
      <dgm:prSet/>
      <dgm:spPr/>
      <dgm:t>
        <a:bodyPr/>
        <a:lstStyle/>
        <a:p>
          <a:endParaRPr lang="en-US"/>
        </a:p>
      </dgm:t>
    </dgm:pt>
    <dgm:pt modelId="{790263D6-FB36-47B9-8955-A3FA8506C090}" type="sibTrans" cxnId="{2A4D23E4-7217-466E-8A17-DAB7A81123A4}">
      <dgm:prSet/>
      <dgm:spPr/>
      <dgm:t>
        <a:bodyPr/>
        <a:lstStyle/>
        <a:p>
          <a:endParaRPr lang="en-US"/>
        </a:p>
      </dgm:t>
    </dgm:pt>
    <dgm:pt modelId="{3B547FB7-E5D9-4FA4-991B-06EF83FD5518}">
      <dgm:prSet custT="1"/>
      <dgm:spPr/>
      <dgm:t>
        <a:bodyPr/>
        <a:lstStyle/>
        <a:p>
          <a:r>
            <a:rPr lang="es-ES" sz="2400">
              <a:solidFill>
                <a:schemeClr val="tx1"/>
              </a:solidFill>
              <a:latin typeface="+mj-lt"/>
            </a:rPr>
            <a:t>Puede crear un FSA ID yendo a </a:t>
          </a:r>
          <a:r>
            <a:rPr lang="es-ES" sz="2400">
              <a:solidFill>
                <a:schemeClr val="tx1"/>
              </a:solidFill>
              <a:latin typeface="+mj-lt"/>
              <a:hlinkClick xmlns:r="http://schemas.openxmlformats.org/officeDocument/2006/relationships" r:id="rId2"/>
            </a:rPr>
            <a:t>https://fsaid.ed.gov/npas/index.htm</a:t>
          </a:r>
          <a:endParaRPr lang="en-US" sz="2400">
            <a:solidFill>
              <a:schemeClr val="tx1"/>
            </a:solidFill>
            <a:latin typeface="+mj-lt"/>
          </a:endParaRPr>
        </a:p>
      </dgm:t>
    </dgm:pt>
    <dgm:pt modelId="{952007B9-55EB-48C7-A8B0-8ED02E6EBB29}" type="parTrans" cxnId="{25AA37AD-E170-49DE-A464-322AA483C7B6}">
      <dgm:prSet/>
      <dgm:spPr/>
      <dgm:t>
        <a:bodyPr/>
        <a:lstStyle/>
        <a:p>
          <a:endParaRPr lang="en-US"/>
        </a:p>
      </dgm:t>
    </dgm:pt>
    <dgm:pt modelId="{B164F85F-DFBF-4B41-958A-BCE71E675409}" type="sibTrans" cxnId="{25AA37AD-E170-49DE-A464-322AA483C7B6}">
      <dgm:prSet/>
      <dgm:spPr/>
      <dgm:t>
        <a:bodyPr/>
        <a:lstStyle/>
        <a:p>
          <a:endParaRPr lang="en-US"/>
        </a:p>
      </dgm:t>
    </dgm:pt>
    <dgm:pt modelId="{89C14BE0-D286-4CFE-8313-5B4EE9CC1A08}">
      <dgm:prSet custT="1"/>
      <dgm:spPr/>
      <dgm:t>
        <a:bodyPr/>
        <a:lstStyle/>
        <a:p>
          <a:r>
            <a:rPr lang="es-ES" sz="2400">
              <a:solidFill>
                <a:schemeClr val="tx1"/>
              </a:solidFill>
              <a:latin typeface="+mj-lt"/>
            </a:rPr>
            <a:t>Explore sus opciones después de la escuela preparatoria usando su plan de la escuela </a:t>
          </a:r>
          <a:r>
            <a:rPr lang="es-ES" sz="2400" err="1">
              <a:solidFill>
                <a:schemeClr val="tx1"/>
              </a:solidFill>
              <a:latin typeface="+mj-lt"/>
            </a:rPr>
            <a:t>prepartoria</a:t>
          </a:r>
          <a:r>
            <a:rPr lang="es-ES" sz="2400">
              <a:solidFill>
                <a:schemeClr val="tx1"/>
              </a:solidFill>
              <a:latin typeface="+mj-lt"/>
            </a:rPr>
            <a:t> y más allá (High </a:t>
          </a:r>
          <a:r>
            <a:rPr lang="es-ES" sz="2400" err="1">
              <a:solidFill>
                <a:schemeClr val="tx1"/>
              </a:solidFill>
              <a:latin typeface="+mj-lt"/>
            </a:rPr>
            <a:t>School</a:t>
          </a:r>
          <a:r>
            <a:rPr lang="es-ES" sz="2400">
              <a:solidFill>
                <a:schemeClr val="tx1"/>
              </a:solidFill>
              <a:latin typeface="+mj-lt"/>
            </a:rPr>
            <a:t> and </a:t>
          </a:r>
          <a:r>
            <a:rPr lang="es-ES" sz="2400" err="1">
              <a:solidFill>
                <a:schemeClr val="tx1"/>
              </a:solidFill>
              <a:latin typeface="+mj-lt"/>
            </a:rPr>
            <a:t>Beyond</a:t>
          </a:r>
          <a:r>
            <a:rPr lang="es-ES" sz="2400">
              <a:solidFill>
                <a:schemeClr val="tx1"/>
              </a:solidFill>
              <a:latin typeface="+mj-lt"/>
            </a:rPr>
            <a:t> Plan).</a:t>
          </a:r>
          <a:endParaRPr lang="en-US" sz="2400">
            <a:solidFill>
              <a:schemeClr val="tx1"/>
            </a:solidFill>
            <a:latin typeface="+mj-lt"/>
          </a:endParaRPr>
        </a:p>
      </dgm:t>
    </dgm:pt>
    <dgm:pt modelId="{4F44ECFD-3695-48D0-A5EC-C4E50B6DCBA9}" type="parTrans" cxnId="{26462BAE-D1E8-43CF-94ED-0B84108304A0}">
      <dgm:prSet/>
      <dgm:spPr/>
      <dgm:t>
        <a:bodyPr/>
        <a:lstStyle/>
        <a:p>
          <a:endParaRPr lang="en-US"/>
        </a:p>
      </dgm:t>
    </dgm:pt>
    <dgm:pt modelId="{12367C51-7D2F-4FC8-8DC1-58D244869289}" type="sibTrans" cxnId="{26462BAE-D1E8-43CF-94ED-0B84108304A0}">
      <dgm:prSet/>
      <dgm:spPr/>
      <dgm:t>
        <a:bodyPr/>
        <a:lstStyle/>
        <a:p>
          <a:endParaRPr lang="en-US"/>
        </a:p>
      </dgm:t>
    </dgm:pt>
    <dgm:pt modelId="{BC70033C-3E41-4AF2-9E30-E99300147C49}">
      <dgm:prSet custT="1"/>
      <dgm:spPr/>
      <dgm:t>
        <a:bodyPr/>
        <a:lstStyle/>
        <a:p>
          <a:r>
            <a:rPr lang="es-ES" sz="2400">
              <a:solidFill>
                <a:schemeClr val="tx1"/>
              </a:solidFill>
              <a:latin typeface="+mj-lt"/>
            </a:rPr>
            <a:t>Puede crear una cuenta WASFA yendo a </a:t>
          </a:r>
          <a:r>
            <a:rPr lang="en-US" sz="2400">
              <a:latin typeface="+mj-lt"/>
              <a:hlinkClick xmlns:r="http://schemas.openxmlformats.org/officeDocument/2006/relationships" r:id="rId3"/>
            </a:rPr>
            <a:t>https://wsac.wa.gov/WASFAelig</a:t>
          </a:r>
          <a:endParaRPr lang="en-US" sz="2400">
            <a:solidFill>
              <a:schemeClr val="tx1"/>
            </a:solidFill>
            <a:latin typeface="+mj-lt"/>
          </a:endParaRPr>
        </a:p>
      </dgm:t>
    </dgm:pt>
    <dgm:pt modelId="{7AF1DB3F-08EF-47AD-AF4C-87EB335E456B}" type="parTrans" cxnId="{9981E1FF-9F8A-4BF2-9BB9-0C2960E8F74D}">
      <dgm:prSet/>
      <dgm:spPr/>
      <dgm:t>
        <a:bodyPr/>
        <a:lstStyle/>
        <a:p>
          <a:endParaRPr lang="en-US"/>
        </a:p>
      </dgm:t>
    </dgm:pt>
    <dgm:pt modelId="{13DEBC40-9BB9-45DF-AFED-E095E8E47685}" type="sibTrans" cxnId="{9981E1FF-9F8A-4BF2-9BB9-0C2960E8F74D}">
      <dgm:prSet/>
      <dgm:spPr/>
      <dgm:t>
        <a:bodyPr/>
        <a:lstStyle/>
        <a:p>
          <a:endParaRPr lang="en-US"/>
        </a:p>
      </dgm:t>
    </dgm:pt>
    <dgm:pt modelId="{3956EEFE-B2F4-4635-B92E-1DB969AE04C6}">
      <dgm:prSet custT="1"/>
      <dgm:spPr/>
      <dgm:t>
        <a:bodyPr/>
        <a:lstStyle/>
        <a:p>
          <a:r>
            <a:rPr lang="es-ES" sz="2400">
              <a:solidFill>
                <a:schemeClr val="tx1"/>
              </a:solidFill>
              <a:latin typeface="+mj-lt"/>
            </a:rPr>
            <a:t>Hable con su consejero para asegurarse de que va por buen camino para graduarse.</a:t>
          </a:r>
          <a:endParaRPr lang="en-US" sz="2400">
            <a:solidFill>
              <a:schemeClr val="tx1"/>
            </a:solidFill>
            <a:latin typeface="+mj-lt"/>
          </a:endParaRPr>
        </a:p>
      </dgm:t>
    </dgm:pt>
    <dgm:pt modelId="{005525D8-B891-48A9-90C1-93BD3F99FF1B}" type="parTrans" cxnId="{BEBE5A98-53AF-49A8-A719-875ED43245AD}">
      <dgm:prSet/>
      <dgm:spPr/>
      <dgm:t>
        <a:bodyPr/>
        <a:lstStyle/>
        <a:p>
          <a:endParaRPr lang="en-US"/>
        </a:p>
      </dgm:t>
    </dgm:pt>
    <dgm:pt modelId="{103107A7-F619-4977-861C-1209EF6B7D13}" type="sibTrans" cxnId="{BEBE5A98-53AF-49A8-A719-875ED43245AD}">
      <dgm:prSet/>
      <dgm:spPr/>
      <dgm:t>
        <a:bodyPr/>
        <a:lstStyle/>
        <a:p>
          <a:endParaRPr lang="en-US"/>
        </a:p>
      </dgm:t>
    </dgm:pt>
    <dgm:pt modelId="{8CBDD88D-482E-4718-AFC5-879759F1F734}">
      <dgm:prSet custT="1"/>
      <dgm:spPr/>
      <dgm:t>
        <a:bodyPr/>
        <a:lstStyle/>
        <a:p>
          <a:r>
            <a:rPr lang="es-ES" sz="2400">
              <a:solidFill>
                <a:schemeClr val="tx1"/>
              </a:solidFill>
              <a:latin typeface="+mj-lt"/>
            </a:rPr>
            <a:t>Complete su solicitud 2024-25 a partir de </a:t>
          </a:r>
          <a:r>
            <a:rPr lang="en-US" sz="2400" err="1">
              <a:solidFill>
                <a:schemeClr val="tx1"/>
              </a:solidFill>
              <a:latin typeface="+mj-lt"/>
            </a:rPr>
            <a:t>diciembre</a:t>
          </a:r>
          <a:r>
            <a:rPr lang="es-ES" sz="2400">
              <a:solidFill>
                <a:schemeClr val="tx1"/>
              </a:solidFill>
              <a:latin typeface="+mj-lt"/>
            </a:rPr>
            <a:t> del 2023</a:t>
          </a:r>
          <a:endParaRPr lang="en-US" sz="2400">
            <a:solidFill>
              <a:schemeClr val="tx1"/>
            </a:solidFill>
            <a:latin typeface="+mj-lt"/>
          </a:endParaRPr>
        </a:p>
      </dgm:t>
    </dgm:pt>
    <dgm:pt modelId="{004EBFC3-3953-42B7-817C-5D9435150F2B}" type="parTrans" cxnId="{76818580-BFD1-40DC-91D2-6322EA00AAA7}">
      <dgm:prSet/>
      <dgm:spPr/>
      <dgm:t>
        <a:bodyPr/>
        <a:lstStyle/>
        <a:p>
          <a:endParaRPr lang="en-US"/>
        </a:p>
      </dgm:t>
    </dgm:pt>
    <dgm:pt modelId="{87F3D763-37D8-411E-93E8-014A34F2CEF0}" type="sibTrans" cxnId="{76818580-BFD1-40DC-91D2-6322EA00AAA7}">
      <dgm:prSet/>
      <dgm:spPr/>
      <dgm:t>
        <a:bodyPr/>
        <a:lstStyle/>
        <a:p>
          <a:endParaRPr lang="en-US"/>
        </a:p>
      </dgm:t>
    </dgm:pt>
    <dgm:pt modelId="{DCCD3BF4-7600-49FD-9C66-089B65BAD9E0}" type="pres">
      <dgm:prSet presAssocID="{F81B89AD-3F73-4990-9D74-E8ADE629666B}" presName="linear" presStyleCnt="0">
        <dgm:presLayoutVars>
          <dgm:animLvl val="lvl"/>
          <dgm:resizeHandles val="exact"/>
        </dgm:presLayoutVars>
      </dgm:prSet>
      <dgm:spPr/>
    </dgm:pt>
    <dgm:pt modelId="{46A3AFAA-53F2-4C54-B9E3-FA8B49733DE0}" type="pres">
      <dgm:prSet presAssocID="{D65A3CC5-8590-4BFD-8DF2-29C9B465C4E1}" presName="parentText" presStyleLbl="node1" presStyleIdx="0" presStyleCnt="3" custLinFactNeighborX="-656">
        <dgm:presLayoutVars>
          <dgm:chMax val="0"/>
          <dgm:bulletEnabled val="1"/>
        </dgm:presLayoutVars>
      </dgm:prSet>
      <dgm:spPr/>
    </dgm:pt>
    <dgm:pt modelId="{BF138AA0-5502-497B-9C4D-98F7D5EC4CE2}" type="pres">
      <dgm:prSet presAssocID="{D65A3CC5-8590-4BFD-8DF2-29C9B465C4E1}" presName="childText" presStyleLbl="revTx" presStyleIdx="0" presStyleCnt="3">
        <dgm:presLayoutVars>
          <dgm:bulletEnabled val="1"/>
        </dgm:presLayoutVars>
      </dgm:prSet>
      <dgm:spPr/>
    </dgm:pt>
    <dgm:pt modelId="{2099A795-71E5-4A02-A6E5-DC626EEF8EB1}" type="pres">
      <dgm:prSet presAssocID="{3262C2F3-E5CB-418F-9C31-33CEB313C703}" presName="parentText" presStyleLbl="node1" presStyleIdx="1" presStyleCnt="3">
        <dgm:presLayoutVars>
          <dgm:chMax val="0"/>
          <dgm:bulletEnabled val="1"/>
        </dgm:presLayoutVars>
      </dgm:prSet>
      <dgm:spPr/>
    </dgm:pt>
    <dgm:pt modelId="{1916CE61-746D-47C9-BB0B-FE8E513C8842}" type="pres">
      <dgm:prSet presAssocID="{3262C2F3-E5CB-418F-9C31-33CEB313C703}" presName="childText" presStyleLbl="revTx" presStyleIdx="1" presStyleCnt="3">
        <dgm:presLayoutVars>
          <dgm:bulletEnabled val="1"/>
        </dgm:presLayoutVars>
      </dgm:prSet>
      <dgm:spPr/>
    </dgm:pt>
    <dgm:pt modelId="{B5556ADA-735F-4649-B9B9-6CA786496CB1}" type="pres">
      <dgm:prSet presAssocID="{09A6FE77-E71D-41CA-B3F8-74C367B4CD82}" presName="parentText" presStyleLbl="node1" presStyleIdx="2" presStyleCnt="3">
        <dgm:presLayoutVars>
          <dgm:chMax val="0"/>
          <dgm:bulletEnabled val="1"/>
        </dgm:presLayoutVars>
      </dgm:prSet>
      <dgm:spPr/>
    </dgm:pt>
    <dgm:pt modelId="{EEA0FB78-A39F-4CFC-A2B8-BE368588EEC0}" type="pres">
      <dgm:prSet presAssocID="{09A6FE77-E71D-41CA-B3F8-74C367B4CD82}" presName="childText" presStyleLbl="revTx" presStyleIdx="2" presStyleCnt="3">
        <dgm:presLayoutVars>
          <dgm:bulletEnabled val="1"/>
        </dgm:presLayoutVars>
      </dgm:prSet>
      <dgm:spPr/>
    </dgm:pt>
  </dgm:ptLst>
  <dgm:cxnLst>
    <dgm:cxn modelId="{39AE2F28-444C-4ACB-AEE5-B71B8AC580C6}" type="presOf" srcId="{3262C2F3-E5CB-418F-9C31-33CEB313C703}" destId="{2099A795-71E5-4A02-A6E5-DC626EEF8EB1}" srcOrd="0" destOrd="0" presId="urn:microsoft.com/office/officeart/2005/8/layout/vList2"/>
    <dgm:cxn modelId="{D8A6B32B-D941-4A21-9674-72230F14FAD7}" type="presOf" srcId="{BF029153-58F8-42CA-970C-30AE7C2393BF}" destId="{1916CE61-746D-47C9-BB0B-FE8E513C8842}" srcOrd="0" destOrd="0" presId="urn:microsoft.com/office/officeart/2005/8/layout/vList2"/>
    <dgm:cxn modelId="{3C26FB41-FD35-4035-A5DA-FC8804A8E677}" type="presOf" srcId="{8CBDD88D-482E-4718-AFC5-879759F1F734}" destId="{EEA0FB78-A39F-4CFC-A2B8-BE368588EEC0}" srcOrd="0" destOrd="2" presId="urn:microsoft.com/office/officeart/2005/8/layout/vList2"/>
    <dgm:cxn modelId="{8FC16962-2675-4F92-984B-01B4BA2D0261}" type="presOf" srcId="{BC70033C-3E41-4AF2-9E30-E99300147C49}" destId="{EEA0FB78-A39F-4CFC-A2B8-BE368588EEC0}" srcOrd="0" destOrd="1" presId="urn:microsoft.com/office/officeart/2005/8/layout/vList2"/>
    <dgm:cxn modelId="{63D27F7E-926F-43C3-A3F9-DDB66577DAE4}" type="presOf" srcId="{F81B89AD-3F73-4990-9D74-E8ADE629666B}" destId="{DCCD3BF4-7600-49FD-9C66-089B65BAD9E0}" srcOrd="0" destOrd="0" presId="urn:microsoft.com/office/officeart/2005/8/layout/vList2"/>
    <dgm:cxn modelId="{76818580-BFD1-40DC-91D2-6322EA00AAA7}" srcId="{09A6FE77-E71D-41CA-B3F8-74C367B4CD82}" destId="{8CBDD88D-482E-4718-AFC5-879759F1F734}" srcOrd="2" destOrd="0" parTransId="{004EBFC3-3953-42B7-817C-5D9435150F2B}" sibTransId="{87F3D763-37D8-411E-93E8-014A34F2CEF0}"/>
    <dgm:cxn modelId="{441CAA84-D941-4BC0-827B-F9173EBA3488}" type="presOf" srcId="{09A6FE77-E71D-41CA-B3F8-74C367B4CD82}" destId="{B5556ADA-735F-4649-B9B9-6CA786496CB1}" srcOrd="0" destOrd="0" presId="urn:microsoft.com/office/officeart/2005/8/layout/vList2"/>
    <dgm:cxn modelId="{19EF3585-E76F-4722-9587-F9A5BAFAADBC}" srcId="{3262C2F3-E5CB-418F-9C31-33CEB313C703}" destId="{BF029153-58F8-42CA-970C-30AE7C2393BF}" srcOrd="0" destOrd="0" parTransId="{59C732EF-9465-4999-BABE-2C6FB3C3BCA1}" sibTransId="{6F211C7A-B018-4888-8E19-5B0F2920628E}"/>
    <dgm:cxn modelId="{BB2AC789-75C1-4ECB-AD71-915375D2BF09}" type="presOf" srcId="{3B547FB7-E5D9-4FA4-991B-06EF83FD5518}" destId="{EEA0FB78-A39F-4CFC-A2B8-BE368588EEC0}" srcOrd="0" destOrd="0" presId="urn:microsoft.com/office/officeart/2005/8/layout/vList2"/>
    <dgm:cxn modelId="{BEBE5A98-53AF-49A8-A719-875ED43245AD}" srcId="{D65A3CC5-8590-4BFD-8DF2-29C9B465C4E1}" destId="{3956EEFE-B2F4-4635-B92E-1DB969AE04C6}" srcOrd="1" destOrd="0" parTransId="{005525D8-B891-48A9-90C1-93BD3F99FF1B}" sibTransId="{103107A7-F619-4977-861C-1209EF6B7D13}"/>
    <dgm:cxn modelId="{7D95A29B-4528-4B7A-88AF-DC9D5C235C89}" srcId="{F81B89AD-3F73-4990-9D74-E8ADE629666B}" destId="{3262C2F3-E5CB-418F-9C31-33CEB313C703}" srcOrd="1" destOrd="0" parTransId="{6E165511-F5B0-4210-B004-9BB1724C1457}" sibTransId="{8EB237BF-F4B3-44DE-B5E5-E76BBDC72EC8}"/>
    <dgm:cxn modelId="{1B51C39C-6B60-435F-BE1E-7248C004D921}" type="presOf" srcId="{89C14BE0-D286-4CFE-8313-5B4EE9CC1A08}" destId="{BF138AA0-5502-497B-9C4D-98F7D5EC4CE2}" srcOrd="0" destOrd="0" presId="urn:microsoft.com/office/officeart/2005/8/layout/vList2"/>
    <dgm:cxn modelId="{25AA37AD-E170-49DE-A464-322AA483C7B6}" srcId="{09A6FE77-E71D-41CA-B3F8-74C367B4CD82}" destId="{3B547FB7-E5D9-4FA4-991B-06EF83FD5518}" srcOrd="0" destOrd="0" parTransId="{952007B9-55EB-48C7-A8B0-8ED02E6EBB29}" sibTransId="{B164F85F-DFBF-4B41-958A-BCE71E675409}"/>
    <dgm:cxn modelId="{26462BAE-D1E8-43CF-94ED-0B84108304A0}" srcId="{D65A3CC5-8590-4BFD-8DF2-29C9B465C4E1}" destId="{89C14BE0-D286-4CFE-8313-5B4EE9CC1A08}" srcOrd="0" destOrd="0" parTransId="{4F44ECFD-3695-48D0-A5EC-C4E50B6DCBA9}" sibTransId="{12367C51-7D2F-4FC8-8DC1-58D244869289}"/>
    <dgm:cxn modelId="{BEF108B4-77F6-48F7-977B-A6EAD3BDFCC9}" type="presOf" srcId="{3956EEFE-B2F4-4635-B92E-1DB969AE04C6}" destId="{BF138AA0-5502-497B-9C4D-98F7D5EC4CE2}" srcOrd="0" destOrd="1" presId="urn:microsoft.com/office/officeart/2005/8/layout/vList2"/>
    <dgm:cxn modelId="{CE220BB7-2078-4310-8738-BA589720ACDD}" srcId="{F81B89AD-3F73-4990-9D74-E8ADE629666B}" destId="{D65A3CC5-8590-4BFD-8DF2-29C9B465C4E1}" srcOrd="0" destOrd="0" parTransId="{F2AEE115-7E29-4463-82E6-A2DF7567C7CB}" sibTransId="{D53FD6B6-CC5C-4AD5-9892-7E8A4546E29C}"/>
    <dgm:cxn modelId="{2A4D23E4-7217-466E-8A17-DAB7A81123A4}" srcId="{F81B89AD-3F73-4990-9D74-E8ADE629666B}" destId="{09A6FE77-E71D-41CA-B3F8-74C367B4CD82}" srcOrd="2" destOrd="0" parTransId="{8286034B-1442-4028-A49C-12D15D252EE6}" sibTransId="{790263D6-FB36-47B9-8955-A3FA8506C090}"/>
    <dgm:cxn modelId="{684916FD-BA1B-4BA8-A435-806D6D3988B4}" type="presOf" srcId="{D65A3CC5-8590-4BFD-8DF2-29C9B465C4E1}" destId="{46A3AFAA-53F2-4C54-B9E3-FA8B49733DE0}" srcOrd="0" destOrd="0" presId="urn:microsoft.com/office/officeart/2005/8/layout/vList2"/>
    <dgm:cxn modelId="{9981E1FF-9F8A-4BF2-9BB9-0C2960E8F74D}" srcId="{09A6FE77-E71D-41CA-B3F8-74C367B4CD82}" destId="{BC70033C-3E41-4AF2-9E30-E99300147C49}" srcOrd="1" destOrd="0" parTransId="{7AF1DB3F-08EF-47AD-AF4C-87EB335E456B}" sibTransId="{13DEBC40-9BB9-45DF-AFED-E095E8E47685}"/>
    <dgm:cxn modelId="{B104CDF8-2F74-4A54-ACA7-A2D821D98B83}" type="presParOf" srcId="{DCCD3BF4-7600-49FD-9C66-089B65BAD9E0}" destId="{46A3AFAA-53F2-4C54-B9E3-FA8B49733DE0}" srcOrd="0" destOrd="0" presId="urn:microsoft.com/office/officeart/2005/8/layout/vList2"/>
    <dgm:cxn modelId="{9E6FDA2E-4446-4CFB-98B2-B55649658FEC}" type="presParOf" srcId="{DCCD3BF4-7600-49FD-9C66-089B65BAD9E0}" destId="{BF138AA0-5502-497B-9C4D-98F7D5EC4CE2}" srcOrd="1" destOrd="0" presId="urn:microsoft.com/office/officeart/2005/8/layout/vList2"/>
    <dgm:cxn modelId="{C4D2A756-F9DD-4CFF-A015-A1D8567991BE}" type="presParOf" srcId="{DCCD3BF4-7600-49FD-9C66-089B65BAD9E0}" destId="{2099A795-71E5-4A02-A6E5-DC626EEF8EB1}" srcOrd="2" destOrd="0" presId="urn:microsoft.com/office/officeart/2005/8/layout/vList2"/>
    <dgm:cxn modelId="{D4D0419D-11B4-4071-ADD9-16121DECF269}" type="presParOf" srcId="{DCCD3BF4-7600-49FD-9C66-089B65BAD9E0}" destId="{1916CE61-746D-47C9-BB0B-FE8E513C8842}" srcOrd="3" destOrd="0" presId="urn:microsoft.com/office/officeart/2005/8/layout/vList2"/>
    <dgm:cxn modelId="{6CB70582-393A-490B-BBD8-6E5692FA26AE}" type="presParOf" srcId="{DCCD3BF4-7600-49FD-9C66-089B65BAD9E0}" destId="{B5556ADA-735F-4649-B9B9-6CA786496CB1}" srcOrd="4" destOrd="0" presId="urn:microsoft.com/office/officeart/2005/8/layout/vList2"/>
    <dgm:cxn modelId="{B7F2C97C-C6A2-4297-B610-D6A553E442B7}" type="presParOf" srcId="{DCCD3BF4-7600-49FD-9C66-089B65BAD9E0}" destId="{EEA0FB78-A39F-4CFC-A2B8-BE368588EEC0}"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B2CCD97A-7465-4344-A255-048EF024A0B2}"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3B347703-838A-49BC-B7AF-71BEF4CD0398}">
      <dgm:prSet phldrT="[Text]"/>
      <dgm:spPr/>
      <dgm:t>
        <a:bodyPr/>
        <a:lstStyle/>
        <a:p>
          <a:r>
            <a:rPr lang="en-US">
              <a:latin typeface="+mj-lt"/>
            </a:rPr>
            <a:t>Sitio de información para </a:t>
          </a:r>
          <a:r>
            <a:rPr lang="en-US" err="1">
              <a:latin typeface="+mj-lt"/>
            </a:rPr>
            <a:t>estudiantes</a:t>
          </a:r>
          <a:r>
            <a:rPr lang="en-US">
              <a:latin typeface="+mj-lt"/>
            </a:rPr>
            <a:t> de 3ro y 4to año.</a:t>
          </a:r>
        </a:p>
      </dgm:t>
    </dgm:pt>
    <dgm:pt modelId="{79A93E6C-0277-441F-9FEE-EA24A5C624D1}" type="parTrans" cxnId="{F024E939-446F-4FAA-92ED-91BCF6A684EB}">
      <dgm:prSet/>
      <dgm:spPr/>
      <dgm:t>
        <a:bodyPr/>
        <a:lstStyle/>
        <a:p>
          <a:endParaRPr lang="en-US"/>
        </a:p>
      </dgm:t>
    </dgm:pt>
    <dgm:pt modelId="{7F397198-7AC5-4F95-90D4-EE5598B0432E}" type="sibTrans" cxnId="{F024E939-446F-4FAA-92ED-91BCF6A684EB}">
      <dgm:prSet/>
      <dgm:spPr/>
      <dgm:t>
        <a:bodyPr/>
        <a:lstStyle/>
        <a:p>
          <a:endParaRPr lang="en-US"/>
        </a:p>
      </dgm:t>
    </dgm:pt>
    <dgm:pt modelId="{473AF2C8-3A04-4CEB-8AB9-720F5F102409}">
      <dgm:prSet phldrT="[Text]"/>
      <dgm:spPr/>
      <dgm:t>
        <a:bodyPr/>
        <a:lstStyle/>
        <a:p>
          <a:r>
            <a:rPr lang="es-ES">
              <a:latin typeface="+mj-lt"/>
            </a:rPr>
            <a:t>Recursos de exploración de carreras, a información para aplicaciónes.</a:t>
          </a:r>
          <a:endParaRPr lang="en-US">
            <a:latin typeface="+mj-lt"/>
          </a:endParaRPr>
        </a:p>
      </dgm:t>
    </dgm:pt>
    <dgm:pt modelId="{05C8F3DA-0671-4D54-91B2-B7A319737B5C}" type="parTrans" cxnId="{46EC051C-5118-417B-80BE-201E4DC0D8BA}">
      <dgm:prSet/>
      <dgm:spPr/>
      <dgm:t>
        <a:bodyPr/>
        <a:lstStyle/>
        <a:p>
          <a:endParaRPr lang="en-US"/>
        </a:p>
      </dgm:t>
    </dgm:pt>
    <dgm:pt modelId="{11C69BE0-2BCE-48DF-8027-D0B98F7A683D}" type="sibTrans" cxnId="{46EC051C-5118-417B-80BE-201E4DC0D8BA}">
      <dgm:prSet/>
      <dgm:spPr/>
      <dgm:t>
        <a:bodyPr/>
        <a:lstStyle/>
        <a:p>
          <a:endParaRPr lang="en-US"/>
        </a:p>
      </dgm:t>
    </dgm:pt>
    <dgm:pt modelId="{EF205DFC-2996-4E00-9CD2-E4029C107950}" type="pres">
      <dgm:prSet presAssocID="{B2CCD97A-7465-4344-A255-048EF024A0B2}" presName="Name0" presStyleCnt="0">
        <dgm:presLayoutVars>
          <dgm:chMax val="7"/>
          <dgm:chPref val="7"/>
          <dgm:dir/>
        </dgm:presLayoutVars>
      </dgm:prSet>
      <dgm:spPr/>
    </dgm:pt>
    <dgm:pt modelId="{C864A4F9-CEB5-41C8-9FCC-60B373B206F5}" type="pres">
      <dgm:prSet presAssocID="{B2CCD97A-7465-4344-A255-048EF024A0B2}" presName="Name1" presStyleCnt="0"/>
      <dgm:spPr/>
    </dgm:pt>
    <dgm:pt modelId="{DF4F2D0F-C746-48C6-9E4E-1DF864A50590}" type="pres">
      <dgm:prSet presAssocID="{B2CCD97A-7465-4344-A255-048EF024A0B2}" presName="cycle" presStyleCnt="0"/>
      <dgm:spPr/>
    </dgm:pt>
    <dgm:pt modelId="{47C7CA2E-7CAA-4466-A0AF-B6FCE70F9E4B}" type="pres">
      <dgm:prSet presAssocID="{B2CCD97A-7465-4344-A255-048EF024A0B2}" presName="srcNode" presStyleLbl="node1" presStyleIdx="0" presStyleCnt="2"/>
      <dgm:spPr/>
    </dgm:pt>
    <dgm:pt modelId="{00E1E90A-4290-4073-A2AB-527A20860E8F}" type="pres">
      <dgm:prSet presAssocID="{B2CCD97A-7465-4344-A255-048EF024A0B2}" presName="conn" presStyleLbl="parChTrans1D2" presStyleIdx="0" presStyleCnt="1"/>
      <dgm:spPr/>
    </dgm:pt>
    <dgm:pt modelId="{CDD92175-D516-426B-B4AC-73FEF9D5D0C4}" type="pres">
      <dgm:prSet presAssocID="{B2CCD97A-7465-4344-A255-048EF024A0B2}" presName="extraNode" presStyleLbl="node1" presStyleIdx="0" presStyleCnt="2"/>
      <dgm:spPr/>
    </dgm:pt>
    <dgm:pt modelId="{7A8D418C-E34D-46F3-A0CF-725D9D4A5EFB}" type="pres">
      <dgm:prSet presAssocID="{B2CCD97A-7465-4344-A255-048EF024A0B2}" presName="dstNode" presStyleLbl="node1" presStyleIdx="0" presStyleCnt="2"/>
      <dgm:spPr/>
    </dgm:pt>
    <dgm:pt modelId="{DA7EEE88-C7C7-4C73-ADFA-5299724E363A}" type="pres">
      <dgm:prSet presAssocID="{3B347703-838A-49BC-B7AF-71BEF4CD0398}" presName="text_1" presStyleLbl="node1" presStyleIdx="0" presStyleCnt="2">
        <dgm:presLayoutVars>
          <dgm:bulletEnabled val="1"/>
        </dgm:presLayoutVars>
      </dgm:prSet>
      <dgm:spPr/>
    </dgm:pt>
    <dgm:pt modelId="{053B4D72-88CD-4D46-8AD4-07B4A2C8843B}" type="pres">
      <dgm:prSet presAssocID="{3B347703-838A-49BC-B7AF-71BEF4CD0398}" presName="accent_1" presStyleCnt="0"/>
      <dgm:spPr/>
    </dgm:pt>
    <dgm:pt modelId="{D688FABD-1F6D-4EB8-AAA6-ACFD9889F7FB}" type="pres">
      <dgm:prSet presAssocID="{3B347703-838A-49BC-B7AF-71BEF4CD0398}" presName="accentRepeatNode" presStyleLbl="solidFgAcc1" presStyleIdx="0" presStyleCnt="2"/>
      <dgm:spPr/>
    </dgm:pt>
    <dgm:pt modelId="{7AC5B223-0064-4E6D-90D1-7DDCF092CA8E}" type="pres">
      <dgm:prSet presAssocID="{473AF2C8-3A04-4CEB-8AB9-720F5F102409}" presName="text_2" presStyleLbl="node1" presStyleIdx="1" presStyleCnt="2">
        <dgm:presLayoutVars>
          <dgm:bulletEnabled val="1"/>
        </dgm:presLayoutVars>
      </dgm:prSet>
      <dgm:spPr/>
    </dgm:pt>
    <dgm:pt modelId="{E2E53C6F-0C6B-48A3-9CEB-BA7B610D25B5}" type="pres">
      <dgm:prSet presAssocID="{473AF2C8-3A04-4CEB-8AB9-720F5F102409}" presName="accent_2" presStyleCnt="0"/>
      <dgm:spPr/>
    </dgm:pt>
    <dgm:pt modelId="{D09EEE02-13A2-46DF-9E5B-25808A119B91}" type="pres">
      <dgm:prSet presAssocID="{473AF2C8-3A04-4CEB-8AB9-720F5F102409}" presName="accentRepeatNode" presStyleLbl="solidFgAcc1" presStyleIdx="1" presStyleCnt="2"/>
      <dgm:spPr/>
    </dgm:pt>
  </dgm:ptLst>
  <dgm:cxnLst>
    <dgm:cxn modelId="{46EC051C-5118-417B-80BE-201E4DC0D8BA}" srcId="{B2CCD97A-7465-4344-A255-048EF024A0B2}" destId="{473AF2C8-3A04-4CEB-8AB9-720F5F102409}" srcOrd="1" destOrd="0" parTransId="{05C8F3DA-0671-4D54-91B2-B7A319737B5C}" sibTransId="{11C69BE0-2BCE-48DF-8027-D0B98F7A683D}"/>
    <dgm:cxn modelId="{123B7036-DCAB-4A4C-B440-8262C6818704}" type="presOf" srcId="{473AF2C8-3A04-4CEB-8AB9-720F5F102409}" destId="{7AC5B223-0064-4E6D-90D1-7DDCF092CA8E}" srcOrd="0" destOrd="0" presId="urn:microsoft.com/office/officeart/2008/layout/VerticalCurvedList"/>
    <dgm:cxn modelId="{F024E939-446F-4FAA-92ED-91BCF6A684EB}" srcId="{B2CCD97A-7465-4344-A255-048EF024A0B2}" destId="{3B347703-838A-49BC-B7AF-71BEF4CD0398}" srcOrd="0" destOrd="0" parTransId="{79A93E6C-0277-441F-9FEE-EA24A5C624D1}" sibTransId="{7F397198-7AC5-4F95-90D4-EE5598B0432E}"/>
    <dgm:cxn modelId="{F9DBB8BA-3960-45CD-8516-9ECC2F167D87}" type="presOf" srcId="{3B347703-838A-49BC-B7AF-71BEF4CD0398}" destId="{DA7EEE88-C7C7-4C73-ADFA-5299724E363A}" srcOrd="0" destOrd="0" presId="urn:microsoft.com/office/officeart/2008/layout/VerticalCurvedList"/>
    <dgm:cxn modelId="{69B19BE8-5C8E-4C35-BC59-ED7FD54F956C}" type="presOf" srcId="{B2CCD97A-7465-4344-A255-048EF024A0B2}" destId="{EF205DFC-2996-4E00-9CD2-E4029C107950}" srcOrd="0" destOrd="0" presId="urn:microsoft.com/office/officeart/2008/layout/VerticalCurvedList"/>
    <dgm:cxn modelId="{9753E9EA-D365-4F49-960A-5C20CCCB735F}" type="presOf" srcId="{7F397198-7AC5-4F95-90D4-EE5598B0432E}" destId="{00E1E90A-4290-4073-A2AB-527A20860E8F}" srcOrd="0" destOrd="0" presId="urn:microsoft.com/office/officeart/2008/layout/VerticalCurvedList"/>
    <dgm:cxn modelId="{EFB21B60-6ED7-4FDA-A81E-2F5CB2E1777F}" type="presParOf" srcId="{EF205DFC-2996-4E00-9CD2-E4029C107950}" destId="{C864A4F9-CEB5-41C8-9FCC-60B373B206F5}" srcOrd="0" destOrd="0" presId="urn:microsoft.com/office/officeart/2008/layout/VerticalCurvedList"/>
    <dgm:cxn modelId="{821F3CAD-0D6D-48EE-B4F4-831070023BEB}" type="presParOf" srcId="{C864A4F9-CEB5-41C8-9FCC-60B373B206F5}" destId="{DF4F2D0F-C746-48C6-9E4E-1DF864A50590}" srcOrd="0" destOrd="0" presId="urn:microsoft.com/office/officeart/2008/layout/VerticalCurvedList"/>
    <dgm:cxn modelId="{EBFDC8C3-4F43-4459-BE8A-FD5300624EFE}" type="presParOf" srcId="{DF4F2D0F-C746-48C6-9E4E-1DF864A50590}" destId="{47C7CA2E-7CAA-4466-A0AF-B6FCE70F9E4B}" srcOrd="0" destOrd="0" presId="urn:microsoft.com/office/officeart/2008/layout/VerticalCurvedList"/>
    <dgm:cxn modelId="{6B7E73FD-4DCF-4580-BC8A-BC987C81A342}" type="presParOf" srcId="{DF4F2D0F-C746-48C6-9E4E-1DF864A50590}" destId="{00E1E90A-4290-4073-A2AB-527A20860E8F}" srcOrd="1" destOrd="0" presId="urn:microsoft.com/office/officeart/2008/layout/VerticalCurvedList"/>
    <dgm:cxn modelId="{788CC32F-0ED5-492E-B114-628AB806D86C}" type="presParOf" srcId="{DF4F2D0F-C746-48C6-9E4E-1DF864A50590}" destId="{CDD92175-D516-426B-B4AC-73FEF9D5D0C4}" srcOrd="2" destOrd="0" presId="urn:microsoft.com/office/officeart/2008/layout/VerticalCurvedList"/>
    <dgm:cxn modelId="{0CFFE58A-AFA2-4245-A26F-886822127017}" type="presParOf" srcId="{DF4F2D0F-C746-48C6-9E4E-1DF864A50590}" destId="{7A8D418C-E34D-46F3-A0CF-725D9D4A5EFB}" srcOrd="3" destOrd="0" presId="urn:microsoft.com/office/officeart/2008/layout/VerticalCurvedList"/>
    <dgm:cxn modelId="{7C6BD083-DD87-445F-B55C-3810914A0978}" type="presParOf" srcId="{C864A4F9-CEB5-41C8-9FCC-60B373B206F5}" destId="{DA7EEE88-C7C7-4C73-ADFA-5299724E363A}" srcOrd="1" destOrd="0" presId="urn:microsoft.com/office/officeart/2008/layout/VerticalCurvedList"/>
    <dgm:cxn modelId="{8F6EC802-F85F-4732-9FBE-A27564EC1091}" type="presParOf" srcId="{C864A4F9-CEB5-41C8-9FCC-60B373B206F5}" destId="{053B4D72-88CD-4D46-8AD4-07B4A2C8843B}" srcOrd="2" destOrd="0" presId="urn:microsoft.com/office/officeart/2008/layout/VerticalCurvedList"/>
    <dgm:cxn modelId="{086382D6-330A-4D2B-81E2-A6B499D619C9}" type="presParOf" srcId="{053B4D72-88CD-4D46-8AD4-07B4A2C8843B}" destId="{D688FABD-1F6D-4EB8-AAA6-ACFD9889F7FB}" srcOrd="0" destOrd="0" presId="urn:microsoft.com/office/officeart/2008/layout/VerticalCurvedList"/>
    <dgm:cxn modelId="{39FE0716-2E27-4D53-97DA-DBD1F6ACC043}" type="presParOf" srcId="{C864A4F9-CEB5-41C8-9FCC-60B373B206F5}" destId="{7AC5B223-0064-4E6D-90D1-7DDCF092CA8E}" srcOrd="3" destOrd="0" presId="urn:microsoft.com/office/officeart/2008/layout/VerticalCurvedList"/>
    <dgm:cxn modelId="{260FF152-C8B6-457C-BCAB-C7684B82DD51}" type="presParOf" srcId="{C864A4F9-CEB5-41C8-9FCC-60B373B206F5}" destId="{E2E53C6F-0C6B-48A3-9CEB-BA7B610D25B5}" srcOrd="4" destOrd="0" presId="urn:microsoft.com/office/officeart/2008/layout/VerticalCurvedList"/>
    <dgm:cxn modelId="{C20D3955-D19F-44CD-9FB1-DEF21C56792D}" type="presParOf" srcId="{E2E53C6F-0C6B-48A3-9CEB-BA7B610D25B5}" destId="{D09EEE02-13A2-46DF-9E5B-25808A119B91}"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09465A43-6072-4D51-A1BE-D5E7F772BA57}"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90AC97A6-2F66-4C6A-B059-1DB908CEDDCC}">
      <dgm:prSet phldrT="[Text]"/>
      <dgm:spPr/>
      <dgm:t>
        <a:bodyPr/>
        <a:lstStyle/>
        <a:p>
          <a:r>
            <a:rPr lang="es-ES">
              <a:latin typeface="+mj-lt"/>
            </a:rPr>
            <a:t>¡Eventos virtuales gratuitos de finalización de ayuda financiera para dar apoyo al siguiente paso!</a:t>
          </a:r>
          <a:endParaRPr lang="en-US">
            <a:latin typeface="+mj-lt"/>
          </a:endParaRPr>
        </a:p>
      </dgm:t>
    </dgm:pt>
    <dgm:pt modelId="{5E9F81D9-E3CC-4E04-B20F-57412BC750BD}" type="parTrans" cxnId="{A75462D9-4B9A-4E71-A1BC-65E4F873B5EA}">
      <dgm:prSet/>
      <dgm:spPr/>
      <dgm:t>
        <a:bodyPr/>
        <a:lstStyle/>
        <a:p>
          <a:endParaRPr lang="en-US"/>
        </a:p>
      </dgm:t>
    </dgm:pt>
    <dgm:pt modelId="{1A4C7625-0B41-404D-ABEF-1663ABBBA031}" type="sibTrans" cxnId="{A75462D9-4B9A-4E71-A1BC-65E4F873B5EA}">
      <dgm:prSet/>
      <dgm:spPr/>
      <dgm:t>
        <a:bodyPr/>
        <a:lstStyle/>
        <a:p>
          <a:endParaRPr lang="en-US"/>
        </a:p>
      </dgm:t>
    </dgm:pt>
    <dgm:pt modelId="{5D6F6C5C-46F6-40D4-A26A-AE2C4E3FFFA9}">
      <dgm:prSet/>
      <dgm:spPr/>
      <dgm:t>
        <a:bodyPr/>
        <a:lstStyle/>
        <a:p>
          <a:r>
            <a:rPr lang="es-ES">
              <a:latin typeface="+mj-lt"/>
            </a:rPr>
            <a:t>Recursos gratuitos que apoyan con ayuda financiera, admisiones universitarias y más</a:t>
          </a:r>
          <a:endParaRPr lang="en-US">
            <a:latin typeface="+mj-lt"/>
          </a:endParaRPr>
        </a:p>
      </dgm:t>
    </dgm:pt>
    <dgm:pt modelId="{420B1F0E-9640-4D23-BF47-316079F1FD68}" type="parTrans" cxnId="{200C889D-995A-4661-B081-A85F72B4294D}">
      <dgm:prSet/>
      <dgm:spPr/>
      <dgm:t>
        <a:bodyPr/>
        <a:lstStyle/>
        <a:p>
          <a:endParaRPr lang="en-US"/>
        </a:p>
      </dgm:t>
    </dgm:pt>
    <dgm:pt modelId="{DDE042BA-F23D-4908-86E7-0B92BC9538AA}" type="sibTrans" cxnId="{200C889D-995A-4661-B081-A85F72B4294D}">
      <dgm:prSet/>
      <dgm:spPr/>
      <dgm:t>
        <a:bodyPr/>
        <a:lstStyle/>
        <a:p>
          <a:endParaRPr lang="en-US"/>
        </a:p>
      </dgm:t>
    </dgm:pt>
    <dgm:pt modelId="{A8A80E82-2965-431A-A9C2-2C96DD37C270}" type="pres">
      <dgm:prSet presAssocID="{09465A43-6072-4D51-A1BE-D5E7F772BA57}" presName="diagram" presStyleCnt="0">
        <dgm:presLayoutVars>
          <dgm:dir/>
          <dgm:resizeHandles val="exact"/>
        </dgm:presLayoutVars>
      </dgm:prSet>
      <dgm:spPr/>
    </dgm:pt>
    <dgm:pt modelId="{7E53936F-1AB2-418B-84EE-292A06FA3DCE}" type="pres">
      <dgm:prSet presAssocID="{90AC97A6-2F66-4C6A-B059-1DB908CEDDCC}" presName="node" presStyleLbl="node1" presStyleIdx="0" presStyleCnt="2">
        <dgm:presLayoutVars>
          <dgm:bulletEnabled val="1"/>
        </dgm:presLayoutVars>
      </dgm:prSet>
      <dgm:spPr/>
    </dgm:pt>
    <dgm:pt modelId="{EE830C6C-BB9B-474E-A847-1383C8ABDA82}" type="pres">
      <dgm:prSet presAssocID="{1A4C7625-0B41-404D-ABEF-1663ABBBA031}" presName="sibTrans" presStyleCnt="0"/>
      <dgm:spPr/>
    </dgm:pt>
    <dgm:pt modelId="{0C7BA3BD-FA8F-43B3-9195-2F144F4BC341}" type="pres">
      <dgm:prSet presAssocID="{5D6F6C5C-46F6-40D4-A26A-AE2C4E3FFFA9}" presName="node" presStyleLbl="node1" presStyleIdx="1" presStyleCnt="2">
        <dgm:presLayoutVars>
          <dgm:bulletEnabled val="1"/>
        </dgm:presLayoutVars>
      </dgm:prSet>
      <dgm:spPr/>
    </dgm:pt>
  </dgm:ptLst>
  <dgm:cxnLst>
    <dgm:cxn modelId="{6EB41E09-0CA1-4FBB-BBDC-0E15E340FBBB}" type="presOf" srcId="{09465A43-6072-4D51-A1BE-D5E7F772BA57}" destId="{A8A80E82-2965-431A-A9C2-2C96DD37C270}" srcOrd="0" destOrd="0" presId="urn:microsoft.com/office/officeart/2005/8/layout/default"/>
    <dgm:cxn modelId="{0AF81A31-5E9F-45D6-A253-E833E7C53543}" type="presOf" srcId="{90AC97A6-2F66-4C6A-B059-1DB908CEDDCC}" destId="{7E53936F-1AB2-418B-84EE-292A06FA3DCE}" srcOrd="0" destOrd="0" presId="urn:microsoft.com/office/officeart/2005/8/layout/default"/>
    <dgm:cxn modelId="{BB99C65B-8646-4093-ACD6-2D48A96B9CC5}" type="presOf" srcId="{5D6F6C5C-46F6-40D4-A26A-AE2C4E3FFFA9}" destId="{0C7BA3BD-FA8F-43B3-9195-2F144F4BC341}" srcOrd="0" destOrd="0" presId="urn:microsoft.com/office/officeart/2005/8/layout/default"/>
    <dgm:cxn modelId="{200C889D-995A-4661-B081-A85F72B4294D}" srcId="{09465A43-6072-4D51-A1BE-D5E7F772BA57}" destId="{5D6F6C5C-46F6-40D4-A26A-AE2C4E3FFFA9}" srcOrd="1" destOrd="0" parTransId="{420B1F0E-9640-4D23-BF47-316079F1FD68}" sibTransId="{DDE042BA-F23D-4908-86E7-0B92BC9538AA}"/>
    <dgm:cxn modelId="{A75462D9-4B9A-4E71-A1BC-65E4F873B5EA}" srcId="{09465A43-6072-4D51-A1BE-D5E7F772BA57}" destId="{90AC97A6-2F66-4C6A-B059-1DB908CEDDCC}" srcOrd="0" destOrd="0" parTransId="{5E9F81D9-E3CC-4E04-B20F-57412BC750BD}" sibTransId="{1A4C7625-0B41-404D-ABEF-1663ABBBA031}"/>
    <dgm:cxn modelId="{6D3A6F6E-043A-487F-AA0B-B23346D37FC4}" type="presParOf" srcId="{A8A80E82-2965-431A-A9C2-2C96DD37C270}" destId="{7E53936F-1AB2-418B-84EE-292A06FA3DCE}" srcOrd="0" destOrd="0" presId="urn:microsoft.com/office/officeart/2005/8/layout/default"/>
    <dgm:cxn modelId="{D1939C2F-F69F-45A1-AE05-82CB1C3D31E6}" type="presParOf" srcId="{A8A80E82-2965-431A-A9C2-2C96DD37C270}" destId="{EE830C6C-BB9B-474E-A847-1383C8ABDA82}" srcOrd="1" destOrd="0" presId="urn:microsoft.com/office/officeart/2005/8/layout/default"/>
    <dgm:cxn modelId="{E099E475-3DD1-4A86-97FC-D977F6F2ED11}" type="presParOf" srcId="{A8A80E82-2965-431A-A9C2-2C96DD37C270}" destId="{0C7BA3BD-FA8F-43B3-9195-2F144F4BC341}"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B0BAD981-C193-41A9-B9ED-209DFADB2C34}" type="doc">
      <dgm:prSet loTypeId="urn:microsoft.com/office/officeart/2005/8/layout/vList4" loCatId="list" qsTypeId="urn:microsoft.com/office/officeart/2005/8/quickstyle/simple1" qsCatId="simple" csTypeId="urn:microsoft.com/office/officeart/2005/8/colors/colorful1" csCatId="colorful" phldr="1"/>
      <dgm:spPr/>
      <dgm:t>
        <a:bodyPr/>
        <a:lstStyle/>
        <a:p>
          <a:endParaRPr lang="en-US"/>
        </a:p>
      </dgm:t>
    </dgm:pt>
    <dgm:pt modelId="{B1D0A611-0A72-4D94-9A01-89F90B3C619E}">
      <dgm:prSet phldrT="[Text]" custT="1"/>
      <dgm:spPr/>
      <dgm:t>
        <a:bodyPr/>
        <a:lstStyle/>
        <a:p>
          <a:r>
            <a:rPr lang="en-US" sz="3000">
              <a:latin typeface="+mj-lt"/>
            </a:rPr>
            <a:t>En Linea:</a:t>
          </a:r>
        </a:p>
      </dgm:t>
    </dgm:pt>
    <dgm:pt modelId="{872C81DA-53A0-449F-938A-FDAB241D10AF}" type="parTrans" cxnId="{8EB33D7E-4025-4A5C-A005-90D24FFA0EB1}">
      <dgm:prSet/>
      <dgm:spPr/>
      <dgm:t>
        <a:bodyPr/>
        <a:lstStyle/>
        <a:p>
          <a:endParaRPr lang="en-US"/>
        </a:p>
      </dgm:t>
    </dgm:pt>
    <dgm:pt modelId="{36B53BD7-45D3-4DDF-8D98-423A63F80A96}" type="sibTrans" cxnId="{8EB33D7E-4025-4A5C-A005-90D24FFA0EB1}">
      <dgm:prSet/>
      <dgm:spPr/>
      <dgm:t>
        <a:bodyPr/>
        <a:lstStyle/>
        <a:p>
          <a:endParaRPr lang="en-US"/>
        </a:p>
      </dgm:t>
    </dgm:pt>
    <dgm:pt modelId="{0D7C2E6B-9B5A-43DD-9194-970F8A8220AE}">
      <dgm:prSet custT="1"/>
      <dgm:spPr/>
      <dgm:t>
        <a:bodyPr/>
        <a:lstStyle/>
        <a:p>
          <a:pPr marL="223838" indent="0"/>
          <a:r>
            <a:rPr lang="en-US" sz="2500">
              <a:solidFill>
                <a:schemeClr val="bg1"/>
              </a:solidFill>
              <a:latin typeface="+mj-lt"/>
            </a:rPr>
            <a:t>wsac.wa.gov</a:t>
          </a:r>
        </a:p>
      </dgm:t>
    </dgm:pt>
    <dgm:pt modelId="{A1015466-1ADD-4647-92AF-3944FAFA13FA}" type="parTrans" cxnId="{81ABF4F1-83C9-4C4C-8E0D-BAF93D21B525}">
      <dgm:prSet/>
      <dgm:spPr/>
      <dgm:t>
        <a:bodyPr/>
        <a:lstStyle/>
        <a:p>
          <a:endParaRPr lang="en-US"/>
        </a:p>
      </dgm:t>
    </dgm:pt>
    <dgm:pt modelId="{C341F615-11E3-418C-B87E-9488CE2392DB}" type="sibTrans" cxnId="{81ABF4F1-83C9-4C4C-8E0D-BAF93D21B525}">
      <dgm:prSet/>
      <dgm:spPr/>
      <dgm:t>
        <a:bodyPr/>
        <a:lstStyle/>
        <a:p>
          <a:endParaRPr lang="en-US"/>
        </a:p>
      </dgm:t>
    </dgm:pt>
    <dgm:pt modelId="{D3E7DFD9-42FD-4D16-A11D-2F98EFF54394}">
      <dgm:prSet custT="1"/>
      <dgm:spPr/>
      <dgm:t>
        <a:bodyPr/>
        <a:lstStyle/>
        <a:p>
          <a:pPr marL="223838" indent="0"/>
          <a:r>
            <a:rPr lang="en-US" sz="2500">
              <a:latin typeface="+mj-lt"/>
            </a:rPr>
            <a:t>www.thewashboard.org</a:t>
          </a:r>
        </a:p>
      </dgm:t>
    </dgm:pt>
    <dgm:pt modelId="{FB0249EB-E01B-4606-882F-CDC9B395BAD2}" type="parTrans" cxnId="{298A639F-D42B-4B18-80B5-050490CBB1E7}">
      <dgm:prSet/>
      <dgm:spPr/>
      <dgm:t>
        <a:bodyPr/>
        <a:lstStyle/>
        <a:p>
          <a:endParaRPr lang="en-US"/>
        </a:p>
      </dgm:t>
    </dgm:pt>
    <dgm:pt modelId="{B10B254D-E714-4E7C-BFB4-E7304511BCDF}" type="sibTrans" cxnId="{298A639F-D42B-4B18-80B5-050490CBB1E7}">
      <dgm:prSet/>
      <dgm:spPr/>
      <dgm:t>
        <a:bodyPr/>
        <a:lstStyle/>
        <a:p>
          <a:endParaRPr lang="en-US"/>
        </a:p>
      </dgm:t>
    </dgm:pt>
    <dgm:pt modelId="{60278D02-F0C6-4B7A-850C-2F55221B1A56}">
      <dgm:prSet custT="1"/>
      <dgm:spPr/>
      <dgm:t>
        <a:bodyPr/>
        <a:lstStyle/>
        <a:p>
          <a:pPr marL="223838" indent="0"/>
          <a:r>
            <a:rPr lang="en-US" sz="2500">
              <a:solidFill>
                <a:schemeClr val="bg1"/>
              </a:solidFill>
              <a:latin typeface="+mj-lt"/>
            </a:rPr>
            <a:t>wastate529.wa.gov</a:t>
          </a:r>
        </a:p>
      </dgm:t>
    </dgm:pt>
    <dgm:pt modelId="{7B443698-F676-4651-907A-C20D33189F6B}" type="parTrans" cxnId="{9513FB35-9EAC-4BD9-916B-E70934CFB134}">
      <dgm:prSet/>
      <dgm:spPr/>
      <dgm:t>
        <a:bodyPr/>
        <a:lstStyle/>
        <a:p>
          <a:endParaRPr lang="en-US"/>
        </a:p>
      </dgm:t>
    </dgm:pt>
    <dgm:pt modelId="{830E75CC-A353-48A8-BF99-D6BB7D96DF94}" type="sibTrans" cxnId="{9513FB35-9EAC-4BD9-916B-E70934CFB134}">
      <dgm:prSet/>
      <dgm:spPr/>
      <dgm:t>
        <a:bodyPr/>
        <a:lstStyle/>
        <a:p>
          <a:endParaRPr lang="en-US"/>
        </a:p>
      </dgm:t>
    </dgm:pt>
    <dgm:pt modelId="{242585D5-1DC8-4DEF-9D96-191A7A3EB2B6}">
      <dgm:prSet/>
      <dgm:spPr/>
      <dgm:t>
        <a:bodyPr/>
        <a:lstStyle/>
        <a:p>
          <a:r>
            <a:rPr lang="en-US">
              <a:latin typeface="+mj-lt"/>
            </a:rPr>
            <a:t>En Twitter:</a:t>
          </a:r>
        </a:p>
      </dgm:t>
    </dgm:pt>
    <dgm:pt modelId="{8C008165-407C-4A5F-8B99-80832F1CA41E}" type="parTrans" cxnId="{5FC2295D-E55B-4B18-A020-AE5AA092289A}">
      <dgm:prSet/>
      <dgm:spPr/>
      <dgm:t>
        <a:bodyPr/>
        <a:lstStyle/>
        <a:p>
          <a:endParaRPr lang="en-US"/>
        </a:p>
      </dgm:t>
    </dgm:pt>
    <dgm:pt modelId="{C8642798-97B0-443C-99C5-E633A1B2123F}" type="sibTrans" cxnId="{5FC2295D-E55B-4B18-A020-AE5AA092289A}">
      <dgm:prSet/>
      <dgm:spPr/>
      <dgm:t>
        <a:bodyPr/>
        <a:lstStyle/>
        <a:p>
          <a:endParaRPr lang="en-US"/>
        </a:p>
      </dgm:t>
    </dgm:pt>
    <dgm:pt modelId="{1384D8E9-BBC9-4710-8185-9D5653A0ACD7}">
      <dgm:prSet/>
      <dgm:spPr/>
      <dgm:t>
        <a:bodyPr/>
        <a:lstStyle/>
        <a:p>
          <a:pPr marL="223838" indent="0"/>
          <a:r>
            <a:rPr lang="en-US">
              <a:latin typeface="+mj-lt"/>
            </a:rPr>
            <a:t>@</a:t>
          </a:r>
          <a:r>
            <a:rPr lang="en-US" err="1">
              <a:latin typeface="+mj-lt"/>
            </a:rPr>
            <a:t>WSACouncil</a:t>
          </a:r>
          <a:r>
            <a:rPr lang="en-US">
              <a:latin typeface="+mj-lt"/>
            </a:rPr>
            <a:t> </a:t>
          </a:r>
        </a:p>
      </dgm:t>
    </dgm:pt>
    <dgm:pt modelId="{9A124508-0739-4BD3-91E1-8FBDAB8191FC}" type="parTrans" cxnId="{1EECBB2E-0F6B-40AA-8AC2-F096DAF026C4}">
      <dgm:prSet/>
      <dgm:spPr/>
      <dgm:t>
        <a:bodyPr/>
        <a:lstStyle/>
        <a:p>
          <a:endParaRPr lang="en-US"/>
        </a:p>
      </dgm:t>
    </dgm:pt>
    <dgm:pt modelId="{87509BA5-0F05-4538-86C4-140B094F7CBB}" type="sibTrans" cxnId="{1EECBB2E-0F6B-40AA-8AC2-F096DAF026C4}">
      <dgm:prSet/>
      <dgm:spPr/>
      <dgm:t>
        <a:bodyPr/>
        <a:lstStyle/>
        <a:p>
          <a:endParaRPr lang="en-US"/>
        </a:p>
      </dgm:t>
    </dgm:pt>
    <dgm:pt modelId="{4EF96A9B-66A4-4730-9876-6A483491D667}">
      <dgm:prSet/>
      <dgm:spPr/>
      <dgm:t>
        <a:bodyPr/>
        <a:lstStyle/>
        <a:p>
          <a:r>
            <a:rPr lang="en-US">
              <a:latin typeface="+mj-lt"/>
            </a:rPr>
            <a:t>En Facebook:</a:t>
          </a:r>
        </a:p>
      </dgm:t>
    </dgm:pt>
    <dgm:pt modelId="{578FC122-0A44-4BDB-85DB-4046FDA2BC52}" type="parTrans" cxnId="{2B0AA321-F861-4ECB-8925-BB2AAF20902A}">
      <dgm:prSet/>
      <dgm:spPr/>
      <dgm:t>
        <a:bodyPr/>
        <a:lstStyle/>
        <a:p>
          <a:endParaRPr lang="en-US"/>
        </a:p>
      </dgm:t>
    </dgm:pt>
    <dgm:pt modelId="{DB67EA74-CC04-4C3F-B047-77D82000A241}" type="sibTrans" cxnId="{2B0AA321-F861-4ECB-8925-BB2AAF20902A}">
      <dgm:prSet/>
      <dgm:spPr/>
      <dgm:t>
        <a:bodyPr/>
        <a:lstStyle/>
        <a:p>
          <a:endParaRPr lang="en-US"/>
        </a:p>
      </dgm:t>
    </dgm:pt>
    <dgm:pt modelId="{D3CA17BD-CFC6-48F7-92DE-99E1A400D6B4}">
      <dgm:prSet/>
      <dgm:spPr/>
      <dgm:t>
        <a:bodyPr/>
        <a:lstStyle/>
        <a:p>
          <a:pPr marL="223838" indent="0"/>
          <a:r>
            <a:rPr lang="en-US">
              <a:latin typeface="+mj-lt"/>
            </a:rPr>
            <a:t>www.facebook.com/WSACouncil</a:t>
          </a:r>
        </a:p>
      </dgm:t>
    </dgm:pt>
    <dgm:pt modelId="{C1BBBB83-1BAE-4510-9C77-705ECF697C7B}" type="parTrans" cxnId="{2E4E22C0-D3E8-4D0C-8FCE-82325A00E9CE}">
      <dgm:prSet/>
      <dgm:spPr/>
      <dgm:t>
        <a:bodyPr/>
        <a:lstStyle/>
        <a:p>
          <a:endParaRPr lang="en-US"/>
        </a:p>
      </dgm:t>
    </dgm:pt>
    <dgm:pt modelId="{CC6F4A02-1F5B-46EC-964D-92A36AADCBEF}" type="sibTrans" cxnId="{2E4E22C0-D3E8-4D0C-8FCE-82325A00E9CE}">
      <dgm:prSet/>
      <dgm:spPr/>
      <dgm:t>
        <a:bodyPr/>
        <a:lstStyle/>
        <a:p>
          <a:endParaRPr lang="en-US"/>
        </a:p>
      </dgm:t>
    </dgm:pt>
    <dgm:pt modelId="{30668F29-54E7-4526-89A0-DCB0CA57ACD6}" type="pres">
      <dgm:prSet presAssocID="{B0BAD981-C193-41A9-B9ED-209DFADB2C34}" presName="linear" presStyleCnt="0">
        <dgm:presLayoutVars>
          <dgm:dir/>
          <dgm:resizeHandles val="exact"/>
        </dgm:presLayoutVars>
      </dgm:prSet>
      <dgm:spPr/>
    </dgm:pt>
    <dgm:pt modelId="{A7D9338A-412F-4B78-8563-5977CE38C6AA}" type="pres">
      <dgm:prSet presAssocID="{B1D0A611-0A72-4D94-9A01-89F90B3C619E}" presName="comp" presStyleCnt="0"/>
      <dgm:spPr/>
    </dgm:pt>
    <dgm:pt modelId="{F9F2C6CA-8ADF-41BE-ACC5-C4170E9C5134}" type="pres">
      <dgm:prSet presAssocID="{B1D0A611-0A72-4D94-9A01-89F90B3C619E}" presName="box" presStyleLbl="node1" presStyleIdx="0" presStyleCnt="3" custScaleY="144678" custLinFactNeighborX="28043" custLinFactNeighborY="2399"/>
      <dgm:spPr/>
    </dgm:pt>
    <dgm:pt modelId="{36FF14BC-FBA2-4EDA-A695-6270CF518E19}" type="pres">
      <dgm:prSet presAssocID="{B1D0A611-0A72-4D94-9A01-89F90B3C619E}"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dgm:spPr>
    </dgm:pt>
    <dgm:pt modelId="{3AA17BA2-DA67-46C8-A42B-F00988269194}" type="pres">
      <dgm:prSet presAssocID="{B1D0A611-0A72-4D94-9A01-89F90B3C619E}" presName="text" presStyleLbl="node1" presStyleIdx="0" presStyleCnt="3">
        <dgm:presLayoutVars>
          <dgm:bulletEnabled val="1"/>
        </dgm:presLayoutVars>
      </dgm:prSet>
      <dgm:spPr/>
    </dgm:pt>
    <dgm:pt modelId="{CC553752-CFBC-49F8-9808-09C187CEEE93}" type="pres">
      <dgm:prSet presAssocID="{36B53BD7-45D3-4DDF-8D98-423A63F80A96}" presName="spacer" presStyleCnt="0"/>
      <dgm:spPr/>
    </dgm:pt>
    <dgm:pt modelId="{A3876F26-9FD2-40E0-AFA4-1F20CE6EC14B}" type="pres">
      <dgm:prSet presAssocID="{242585D5-1DC8-4DEF-9D96-191A7A3EB2B6}" presName="comp" presStyleCnt="0"/>
      <dgm:spPr/>
    </dgm:pt>
    <dgm:pt modelId="{AF34229C-F1EA-4DCA-8864-4C2575FF4974}" type="pres">
      <dgm:prSet presAssocID="{242585D5-1DC8-4DEF-9D96-191A7A3EB2B6}" presName="box" presStyleLbl="node1" presStyleIdx="1" presStyleCnt="3" custLinFactNeighborX="-5702" custLinFactNeighborY="583"/>
      <dgm:spPr/>
    </dgm:pt>
    <dgm:pt modelId="{8C589259-8345-4660-9E55-F438BB95AB07}" type="pres">
      <dgm:prSet presAssocID="{242585D5-1DC8-4DEF-9D96-191A7A3EB2B6}" presName="img"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7000" b="-7000"/>
          </a:stretch>
        </a:blipFill>
      </dgm:spPr>
    </dgm:pt>
    <dgm:pt modelId="{6B278A30-CF55-4A6D-91B5-EF35A181F00A}" type="pres">
      <dgm:prSet presAssocID="{242585D5-1DC8-4DEF-9D96-191A7A3EB2B6}" presName="text" presStyleLbl="node1" presStyleIdx="1" presStyleCnt="3">
        <dgm:presLayoutVars>
          <dgm:bulletEnabled val="1"/>
        </dgm:presLayoutVars>
      </dgm:prSet>
      <dgm:spPr/>
    </dgm:pt>
    <dgm:pt modelId="{D1AD3430-C1A0-4C6C-AC84-A86F8700C127}" type="pres">
      <dgm:prSet presAssocID="{C8642798-97B0-443C-99C5-E633A1B2123F}" presName="spacer" presStyleCnt="0"/>
      <dgm:spPr/>
    </dgm:pt>
    <dgm:pt modelId="{DBCB1686-ADCD-47EF-99BC-DF3E30DB6867}" type="pres">
      <dgm:prSet presAssocID="{4EF96A9B-66A4-4730-9876-6A483491D667}" presName="comp" presStyleCnt="0"/>
      <dgm:spPr/>
    </dgm:pt>
    <dgm:pt modelId="{3B960BAA-C130-4144-9CAD-D50151064897}" type="pres">
      <dgm:prSet presAssocID="{4EF96A9B-66A4-4730-9876-6A483491D667}" presName="box" presStyleLbl="node1" presStyleIdx="2" presStyleCnt="3"/>
      <dgm:spPr/>
    </dgm:pt>
    <dgm:pt modelId="{DF22EC87-A7B2-48AC-814C-4B991D8B2FB4}" type="pres">
      <dgm:prSet presAssocID="{4EF96A9B-66A4-4730-9876-6A483491D667}" presName="img" presStyleLbl="fgImgPlace1" presStyleIdx="2" presStyleCnt="3" custLinFactNeighborX="-1995" custLinFactNeighborY="-1049"/>
      <dgm:spPr>
        <a:blipFill>
          <a:blip xmlns:r="http://schemas.openxmlformats.org/officeDocument/2006/relationships" r:embed="rId3">
            <a:extLst>
              <a:ext uri="{28A0092B-C50C-407E-A947-70E740481C1C}">
                <a14:useLocalDpi xmlns:a14="http://schemas.microsoft.com/office/drawing/2010/main" val="0"/>
              </a:ext>
            </a:extLst>
          </a:blip>
          <a:srcRect/>
          <a:stretch>
            <a:fillRect l="-12000" r="-12000"/>
          </a:stretch>
        </a:blipFill>
      </dgm:spPr>
    </dgm:pt>
    <dgm:pt modelId="{2E92B0B4-DB36-4B83-8804-DD6201F99520}" type="pres">
      <dgm:prSet presAssocID="{4EF96A9B-66A4-4730-9876-6A483491D667}" presName="text" presStyleLbl="node1" presStyleIdx="2" presStyleCnt="3">
        <dgm:presLayoutVars>
          <dgm:bulletEnabled val="1"/>
        </dgm:presLayoutVars>
      </dgm:prSet>
      <dgm:spPr/>
    </dgm:pt>
  </dgm:ptLst>
  <dgm:cxnLst>
    <dgm:cxn modelId="{0527E815-FB8C-4B9A-B926-0A863A1D18D2}" type="presOf" srcId="{B1D0A611-0A72-4D94-9A01-89F90B3C619E}" destId="{F9F2C6CA-8ADF-41BE-ACC5-C4170E9C5134}" srcOrd="0" destOrd="0" presId="urn:microsoft.com/office/officeart/2005/8/layout/vList4"/>
    <dgm:cxn modelId="{7CD8B116-38EC-40C5-BAA4-07E742AB4B07}" type="presOf" srcId="{D3CA17BD-CFC6-48F7-92DE-99E1A400D6B4}" destId="{2E92B0B4-DB36-4B83-8804-DD6201F99520}" srcOrd="1" destOrd="1" presId="urn:microsoft.com/office/officeart/2005/8/layout/vList4"/>
    <dgm:cxn modelId="{7845C71E-7E7D-48F4-940C-B487BF0D96FE}" type="presOf" srcId="{242585D5-1DC8-4DEF-9D96-191A7A3EB2B6}" destId="{AF34229C-F1EA-4DCA-8864-4C2575FF4974}" srcOrd="0" destOrd="0" presId="urn:microsoft.com/office/officeart/2005/8/layout/vList4"/>
    <dgm:cxn modelId="{2B0AA321-F861-4ECB-8925-BB2AAF20902A}" srcId="{B0BAD981-C193-41A9-B9ED-209DFADB2C34}" destId="{4EF96A9B-66A4-4730-9876-6A483491D667}" srcOrd="2" destOrd="0" parTransId="{578FC122-0A44-4BDB-85DB-4046FDA2BC52}" sibTransId="{DB67EA74-CC04-4C3F-B047-77D82000A241}"/>
    <dgm:cxn modelId="{1EECBB2E-0F6B-40AA-8AC2-F096DAF026C4}" srcId="{242585D5-1DC8-4DEF-9D96-191A7A3EB2B6}" destId="{1384D8E9-BBC9-4710-8185-9D5653A0ACD7}" srcOrd="0" destOrd="0" parTransId="{9A124508-0739-4BD3-91E1-8FBDAB8191FC}" sibTransId="{87509BA5-0F05-4538-86C4-140B094F7CBB}"/>
    <dgm:cxn modelId="{9513FB35-9EAC-4BD9-916B-E70934CFB134}" srcId="{B1D0A611-0A72-4D94-9A01-89F90B3C619E}" destId="{60278D02-F0C6-4B7A-850C-2F55221B1A56}" srcOrd="2" destOrd="0" parTransId="{7B443698-F676-4651-907A-C20D33189F6B}" sibTransId="{830E75CC-A353-48A8-BF99-D6BB7D96DF94}"/>
    <dgm:cxn modelId="{5FC2295D-E55B-4B18-A020-AE5AA092289A}" srcId="{B0BAD981-C193-41A9-B9ED-209DFADB2C34}" destId="{242585D5-1DC8-4DEF-9D96-191A7A3EB2B6}" srcOrd="1" destOrd="0" parTransId="{8C008165-407C-4A5F-8B99-80832F1CA41E}" sibTransId="{C8642798-97B0-443C-99C5-E633A1B2123F}"/>
    <dgm:cxn modelId="{6A893A41-F046-4F18-A9B1-ADACB8E43C4D}" type="presOf" srcId="{B0BAD981-C193-41A9-B9ED-209DFADB2C34}" destId="{30668F29-54E7-4526-89A0-DCB0CA57ACD6}" srcOrd="0" destOrd="0" presId="urn:microsoft.com/office/officeart/2005/8/layout/vList4"/>
    <dgm:cxn modelId="{44E39A46-45ED-4571-BE8A-368A3453CEB4}" type="presOf" srcId="{D3E7DFD9-42FD-4D16-A11D-2F98EFF54394}" destId="{F9F2C6CA-8ADF-41BE-ACC5-C4170E9C5134}" srcOrd="0" destOrd="2" presId="urn:microsoft.com/office/officeart/2005/8/layout/vList4"/>
    <dgm:cxn modelId="{753FC248-9AAB-4DF5-BBE2-0A1CE4A585CB}" type="presOf" srcId="{B1D0A611-0A72-4D94-9A01-89F90B3C619E}" destId="{3AA17BA2-DA67-46C8-A42B-F00988269194}" srcOrd="1" destOrd="0" presId="urn:microsoft.com/office/officeart/2005/8/layout/vList4"/>
    <dgm:cxn modelId="{08840050-1772-4E43-9BA9-7180C17FAE23}" type="presOf" srcId="{1384D8E9-BBC9-4710-8185-9D5653A0ACD7}" destId="{6B278A30-CF55-4A6D-91B5-EF35A181F00A}" srcOrd="1" destOrd="1" presId="urn:microsoft.com/office/officeart/2005/8/layout/vList4"/>
    <dgm:cxn modelId="{FEC3217C-B393-47FE-A935-BE4E10AAD055}" type="presOf" srcId="{60278D02-F0C6-4B7A-850C-2F55221B1A56}" destId="{3AA17BA2-DA67-46C8-A42B-F00988269194}" srcOrd="1" destOrd="3" presId="urn:microsoft.com/office/officeart/2005/8/layout/vList4"/>
    <dgm:cxn modelId="{8EB33D7E-4025-4A5C-A005-90D24FFA0EB1}" srcId="{B0BAD981-C193-41A9-B9ED-209DFADB2C34}" destId="{B1D0A611-0A72-4D94-9A01-89F90B3C619E}" srcOrd="0" destOrd="0" parTransId="{872C81DA-53A0-449F-938A-FDAB241D10AF}" sibTransId="{36B53BD7-45D3-4DDF-8D98-423A63F80A96}"/>
    <dgm:cxn modelId="{AEB4BB84-00D1-4787-8854-BA39500624BD}" type="presOf" srcId="{4EF96A9B-66A4-4730-9876-6A483491D667}" destId="{3B960BAA-C130-4144-9CAD-D50151064897}" srcOrd="0" destOrd="0" presId="urn:microsoft.com/office/officeart/2005/8/layout/vList4"/>
    <dgm:cxn modelId="{C4D7878A-2141-4B1B-8421-9B56F6A613EA}" type="presOf" srcId="{D3E7DFD9-42FD-4D16-A11D-2F98EFF54394}" destId="{3AA17BA2-DA67-46C8-A42B-F00988269194}" srcOrd="1" destOrd="2" presId="urn:microsoft.com/office/officeart/2005/8/layout/vList4"/>
    <dgm:cxn modelId="{FDC99E8C-1FDC-441C-A9C0-DD59B2F3FA52}" type="presOf" srcId="{0D7C2E6B-9B5A-43DD-9194-970F8A8220AE}" destId="{3AA17BA2-DA67-46C8-A42B-F00988269194}" srcOrd="1" destOrd="1" presId="urn:microsoft.com/office/officeart/2005/8/layout/vList4"/>
    <dgm:cxn modelId="{298A639F-D42B-4B18-80B5-050490CBB1E7}" srcId="{B1D0A611-0A72-4D94-9A01-89F90B3C619E}" destId="{D3E7DFD9-42FD-4D16-A11D-2F98EFF54394}" srcOrd="1" destOrd="0" parTransId="{FB0249EB-E01B-4606-882F-CDC9B395BAD2}" sibTransId="{B10B254D-E714-4E7C-BFB4-E7304511BCDF}"/>
    <dgm:cxn modelId="{C9AF13AA-6C20-4132-A6C1-814165FD26AA}" type="presOf" srcId="{242585D5-1DC8-4DEF-9D96-191A7A3EB2B6}" destId="{6B278A30-CF55-4A6D-91B5-EF35A181F00A}" srcOrd="1" destOrd="0" presId="urn:microsoft.com/office/officeart/2005/8/layout/vList4"/>
    <dgm:cxn modelId="{1F8511B4-C99F-40FA-9086-B4C71A12CAB6}" type="presOf" srcId="{4EF96A9B-66A4-4730-9876-6A483491D667}" destId="{2E92B0B4-DB36-4B83-8804-DD6201F99520}" srcOrd="1" destOrd="0" presId="urn:microsoft.com/office/officeart/2005/8/layout/vList4"/>
    <dgm:cxn modelId="{2E4E22C0-D3E8-4D0C-8FCE-82325A00E9CE}" srcId="{4EF96A9B-66A4-4730-9876-6A483491D667}" destId="{D3CA17BD-CFC6-48F7-92DE-99E1A400D6B4}" srcOrd="0" destOrd="0" parTransId="{C1BBBB83-1BAE-4510-9C77-705ECF697C7B}" sibTransId="{CC6F4A02-1F5B-46EC-964D-92A36AADCBEF}"/>
    <dgm:cxn modelId="{0A0708C1-A73F-4BAF-A165-05972364061D}" type="presOf" srcId="{D3CA17BD-CFC6-48F7-92DE-99E1A400D6B4}" destId="{3B960BAA-C130-4144-9CAD-D50151064897}" srcOrd="0" destOrd="1" presId="urn:microsoft.com/office/officeart/2005/8/layout/vList4"/>
    <dgm:cxn modelId="{014788DA-4C0A-4B6A-90E2-3A528F3EF46C}" type="presOf" srcId="{60278D02-F0C6-4B7A-850C-2F55221B1A56}" destId="{F9F2C6CA-8ADF-41BE-ACC5-C4170E9C5134}" srcOrd="0" destOrd="3" presId="urn:microsoft.com/office/officeart/2005/8/layout/vList4"/>
    <dgm:cxn modelId="{19E49ADD-B09B-417B-A77C-326FDE40BDA5}" type="presOf" srcId="{0D7C2E6B-9B5A-43DD-9194-970F8A8220AE}" destId="{F9F2C6CA-8ADF-41BE-ACC5-C4170E9C5134}" srcOrd="0" destOrd="1" presId="urn:microsoft.com/office/officeart/2005/8/layout/vList4"/>
    <dgm:cxn modelId="{D40CBCE0-75D9-4A8D-89CD-5BBB02E55A14}" type="presOf" srcId="{1384D8E9-BBC9-4710-8185-9D5653A0ACD7}" destId="{AF34229C-F1EA-4DCA-8864-4C2575FF4974}" srcOrd="0" destOrd="1" presId="urn:microsoft.com/office/officeart/2005/8/layout/vList4"/>
    <dgm:cxn modelId="{81ABF4F1-83C9-4C4C-8E0D-BAF93D21B525}" srcId="{B1D0A611-0A72-4D94-9A01-89F90B3C619E}" destId="{0D7C2E6B-9B5A-43DD-9194-970F8A8220AE}" srcOrd="0" destOrd="0" parTransId="{A1015466-1ADD-4647-92AF-3944FAFA13FA}" sibTransId="{C341F615-11E3-418C-B87E-9488CE2392DB}"/>
    <dgm:cxn modelId="{AA2DFCB1-630C-40C0-838F-F4B26B2D185A}" type="presParOf" srcId="{30668F29-54E7-4526-89A0-DCB0CA57ACD6}" destId="{A7D9338A-412F-4B78-8563-5977CE38C6AA}" srcOrd="0" destOrd="0" presId="urn:microsoft.com/office/officeart/2005/8/layout/vList4"/>
    <dgm:cxn modelId="{A910C53D-7042-4E03-A9C3-C7D2A1A1D61F}" type="presParOf" srcId="{A7D9338A-412F-4B78-8563-5977CE38C6AA}" destId="{F9F2C6CA-8ADF-41BE-ACC5-C4170E9C5134}" srcOrd="0" destOrd="0" presId="urn:microsoft.com/office/officeart/2005/8/layout/vList4"/>
    <dgm:cxn modelId="{6A86B2F1-5FCC-49D4-A127-EEADDB36BF4A}" type="presParOf" srcId="{A7D9338A-412F-4B78-8563-5977CE38C6AA}" destId="{36FF14BC-FBA2-4EDA-A695-6270CF518E19}" srcOrd="1" destOrd="0" presId="urn:microsoft.com/office/officeart/2005/8/layout/vList4"/>
    <dgm:cxn modelId="{4E0ABECF-C38A-4BBE-A120-5BB651755432}" type="presParOf" srcId="{A7D9338A-412F-4B78-8563-5977CE38C6AA}" destId="{3AA17BA2-DA67-46C8-A42B-F00988269194}" srcOrd="2" destOrd="0" presId="urn:microsoft.com/office/officeart/2005/8/layout/vList4"/>
    <dgm:cxn modelId="{4C568F91-3697-47FB-B8AA-06A2E1A0158D}" type="presParOf" srcId="{30668F29-54E7-4526-89A0-DCB0CA57ACD6}" destId="{CC553752-CFBC-49F8-9808-09C187CEEE93}" srcOrd="1" destOrd="0" presId="urn:microsoft.com/office/officeart/2005/8/layout/vList4"/>
    <dgm:cxn modelId="{407974BE-086C-4810-8DE7-6D1849C339A7}" type="presParOf" srcId="{30668F29-54E7-4526-89A0-DCB0CA57ACD6}" destId="{A3876F26-9FD2-40E0-AFA4-1F20CE6EC14B}" srcOrd="2" destOrd="0" presId="urn:microsoft.com/office/officeart/2005/8/layout/vList4"/>
    <dgm:cxn modelId="{853CFC01-9EDF-4CC1-A8B0-F954C3A42FFF}" type="presParOf" srcId="{A3876F26-9FD2-40E0-AFA4-1F20CE6EC14B}" destId="{AF34229C-F1EA-4DCA-8864-4C2575FF4974}" srcOrd="0" destOrd="0" presId="urn:microsoft.com/office/officeart/2005/8/layout/vList4"/>
    <dgm:cxn modelId="{6682A7A7-4AD1-4B8E-9755-E826F0A65F4C}" type="presParOf" srcId="{A3876F26-9FD2-40E0-AFA4-1F20CE6EC14B}" destId="{8C589259-8345-4660-9E55-F438BB95AB07}" srcOrd="1" destOrd="0" presId="urn:microsoft.com/office/officeart/2005/8/layout/vList4"/>
    <dgm:cxn modelId="{50469EAC-C423-4C1B-A50E-6158F184B705}" type="presParOf" srcId="{A3876F26-9FD2-40E0-AFA4-1F20CE6EC14B}" destId="{6B278A30-CF55-4A6D-91B5-EF35A181F00A}" srcOrd="2" destOrd="0" presId="urn:microsoft.com/office/officeart/2005/8/layout/vList4"/>
    <dgm:cxn modelId="{13E8E4DA-0EB2-40EB-A76A-07D0AE98D99C}" type="presParOf" srcId="{30668F29-54E7-4526-89A0-DCB0CA57ACD6}" destId="{D1AD3430-C1A0-4C6C-AC84-A86F8700C127}" srcOrd="3" destOrd="0" presId="urn:microsoft.com/office/officeart/2005/8/layout/vList4"/>
    <dgm:cxn modelId="{EF100A03-26C0-40AE-9BE5-14317A659DF8}" type="presParOf" srcId="{30668F29-54E7-4526-89A0-DCB0CA57ACD6}" destId="{DBCB1686-ADCD-47EF-99BC-DF3E30DB6867}" srcOrd="4" destOrd="0" presId="urn:microsoft.com/office/officeart/2005/8/layout/vList4"/>
    <dgm:cxn modelId="{D6038EB1-5BB5-4028-AECF-F08CE25E906B}" type="presParOf" srcId="{DBCB1686-ADCD-47EF-99BC-DF3E30DB6867}" destId="{3B960BAA-C130-4144-9CAD-D50151064897}" srcOrd="0" destOrd="0" presId="urn:microsoft.com/office/officeart/2005/8/layout/vList4"/>
    <dgm:cxn modelId="{03C7A34F-EE72-4593-B98F-9DA09578A94B}" type="presParOf" srcId="{DBCB1686-ADCD-47EF-99BC-DF3E30DB6867}" destId="{DF22EC87-A7B2-48AC-814C-4B991D8B2FB4}" srcOrd="1" destOrd="0" presId="urn:microsoft.com/office/officeart/2005/8/layout/vList4"/>
    <dgm:cxn modelId="{3432E08C-4BAA-447A-86DB-3F977859477D}" type="presParOf" srcId="{DBCB1686-ADCD-47EF-99BC-DF3E30DB6867}" destId="{2E92B0B4-DB36-4B83-8804-DD6201F99520}"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E66B044-F07D-4598-9661-9D57A8E4F6BA}" type="doc">
      <dgm:prSet loTypeId="urn:microsoft.com/office/officeart/2005/8/layout/orgChart1" loCatId="hierarchy" qsTypeId="urn:microsoft.com/office/officeart/2005/8/quickstyle/simple1" qsCatId="simple" csTypeId="urn:microsoft.com/office/officeart/2005/8/colors/colorful1" csCatId="colorful" phldr="1"/>
      <dgm:spPr/>
      <dgm:t>
        <a:bodyPr/>
        <a:lstStyle/>
        <a:p>
          <a:endParaRPr lang="en-US"/>
        </a:p>
      </dgm:t>
    </dgm:pt>
    <dgm:pt modelId="{902EBED0-DB60-43AA-8584-0640E880A77D}" type="asst">
      <dgm:prSet phldrT="[Text]" custT="1"/>
      <dgm:spPr/>
      <dgm:t>
        <a:bodyPr/>
        <a:lstStyle/>
        <a:p>
          <a:pPr>
            <a:buNone/>
          </a:pPr>
          <a:r>
            <a:rPr lang="en-US" sz="3200">
              <a:latin typeface="+mj-lt"/>
            </a:rPr>
            <a:t>Un </a:t>
          </a:r>
          <a:r>
            <a:rPr lang="en-US" sz="3200" err="1">
              <a:latin typeface="+mj-lt"/>
            </a:rPr>
            <a:t>subvención</a:t>
          </a:r>
          <a:r>
            <a:rPr lang="en-US" sz="3200">
              <a:latin typeface="+mj-lt"/>
            </a:rPr>
            <a:t> o grant es </a:t>
          </a:r>
          <a:r>
            <a:rPr lang="en-US" sz="3200" err="1">
              <a:latin typeface="+mj-lt"/>
            </a:rPr>
            <a:t>ayuda</a:t>
          </a:r>
          <a:r>
            <a:rPr lang="en-US" sz="3200">
              <a:latin typeface="+mj-lt"/>
            </a:rPr>
            <a:t> en forma de regalo que a menudo se </a:t>
          </a:r>
          <a:r>
            <a:rPr lang="en-US" sz="3200" err="1">
              <a:latin typeface="+mj-lt"/>
            </a:rPr>
            <a:t>basa</a:t>
          </a:r>
          <a:r>
            <a:rPr lang="en-US" sz="3200">
              <a:latin typeface="+mj-lt"/>
            </a:rPr>
            <a:t> en </a:t>
          </a:r>
          <a:r>
            <a:rPr lang="en-US" sz="3200" err="1">
              <a:latin typeface="+mj-lt"/>
            </a:rPr>
            <a:t>necesidad</a:t>
          </a:r>
          <a:r>
            <a:rPr lang="en-US" sz="3200">
              <a:latin typeface="+mj-lt"/>
            </a:rPr>
            <a:t> </a:t>
          </a:r>
          <a:r>
            <a:rPr lang="en-US" sz="3200" err="1">
              <a:latin typeface="+mj-lt"/>
            </a:rPr>
            <a:t>financiera</a:t>
          </a:r>
          <a:r>
            <a:rPr lang="en-US" sz="3200">
              <a:latin typeface="+mj-lt"/>
            </a:rPr>
            <a:t> y no es </a:t>
          </a:r>
          <a:r>
            <a:rPr lang="en-US" sz="3200" err="1">
              <a:latin typeface="+mj-lt"/>
            </a:rPr>
            <a:t>reembolsada</a:t>
          </a:r>
          <a:r>
            <a:rPr lang="en-US" sz="3200">
              <a:latin typeface="+mj-lt"/>
            </a:rPr>
            <a:t>, a </a:t>
          </a:r>
          <a:r>
            <a:rPr lang="en-US" sz="3200" err="1">
              <a:latin typeface="+mj-lt"/>
            </a:rPr>
            <a:t>menos</a:t>
          </a:r>
          <a:r>
            <a:rPr lang="en-US" sz="3200">
              <a:latin typeface="+mj-lt"/>
            </a:rPr>
            <a:t> que, </a:t>
          </a:r>
          <a:r>
            <a:rPr lang="en-US" sz="3200" err="1">
              <a:latin typeface="+mj-lt"/>
            </a:rPr>
            <a:t>por</a:t>
          </a:r>
          <a:r>
            <a:rPr lang="en-US" sz="3200">
              <a:latin typeface="+mj-lt"/>
            </a:rPr>
            <a:t> </a:t>
          </a:r>
          <a:r>
            <a:rPr lang="en-US" sz="3200" err="1">
              <a:latin typeface="+mj-lt"/>
            </a:rPr>
            <a:t>ejemplo</a:t>
          </a:r>
          <a:r>
            <a:rPr lang="en-US" sz="3200">
              <a:latin typeface="+mj-lt"/>
            </a:rPr>
            <a:t>, el </a:t>
          </a:r>
          <a:r>
            <a:rPr lang="en-US" sz="3200" err="1">
              <a:latin typeface="+mj-lt"/>
            </a:rPr>
            <a:t>estudiante</a:t>
          </a:r>
          <a:r>
            <a:rPr lang="en-US" sz="3200">
              <a:latin typeface="+mj-lt"/>
            </a:rPr>
            <a:t> se retire de la </a:t>
          </a:r>
          <a:r>
            <a:rPr lang="en-US" sz="3200" err="1">
              <a:latin typeface="+mj-lt"/>
            </a:rPr>
            <a:t>escuela</a:t>
          </a:r>
          <a:r>
            <a:rPr lang="en-US" sz="3200">
              <a:latin typeface="+mj-lt"/>
            </a:rPr>
            <a:t> y </a:t>
          </a:r>
          <a:r>
            <a:rPr lang="en-US" sz="3200" err="1">
              <a:latin typeface="+mj-lt"/>
            </a:rPr>
            <a:t>deba</a:t>
          </a:r>
          <a:r>
            <a:rPr lang="en-US" sz="3200">
              <a:latin typeface="+mj-lt"/>
            </a:rPr>
            <a:t> un </a:t>
          </a:r>
          <a:r>
            <a:rPr lang="en-US" sz="3200" err="1">
              <a:latin typeface="+mj-lt"/>
            </a:rPr>
            <a:t>reembolso</a:t>
          </a:r>
          <a:r>
            <a:rPr lang="en-US" sz="3200">
              <a:latin typeface="+mj-lt"/>
            </a:rPr>
            <a:t>.</a:t>
          </a:r>
        </a:p>
      </dgm:t>
    </dgm:pt>
    <dgm:pt modelId="{97AB23B6-F1E7-4548-B265-D210C758B61A}" type="parTrans" cxnId="{0E92A4E8-BAD6-45A0-99E9-19352ECFD135}">
      <dgm:prSet/>
      <dgm:spPr/>
      <dgm:t>
        <a:bodyPr/>
        <a:lstStyle/>
        <a:p>
          <a:endParaRPr lang="en-US"/>
        </a:p>
      </dgm:t>
    </dgm:pt>
    <dgm:pt modelId="{D3712A37-89EE-40F2-BB44-33E0E99E0AC2}" type="sibTrans" cxnId="{0E92A4E8-BAD6-45A0-99E9-19352ECFD135}">
      <dgm:prSet/>
      <dgm:spPr/>
      <dgm:t>
        <a:bodyPr/>
        <a:lstStyle/>
        <a:p>
          <a:endParaRPr lang="en-US"/>
        </a:p>
      </dgm:t>
    </dgm:pt>
    <dgm:pt modelId="{DC321E98-7944-428F-AE79-A1C2E95D14A7}">
      <dgm:prSet phldrT="[Text]" custT="1"/>
      <dgm:spPr/>
      <dgm:t>
        <a:bodyPr/>
        <a:lstStyle/>
        <a:p>
          <a:r>
            <a:rPr lang="en-US" sz="2900">
              <a:latin typeface="+mj-lt"/>
            </a:rPr>
            <a:t>Pell Grant</a:t>
          </a:r>
        </a:p>
      </dgm:t>
    </dgm:pt>
    <dgm:pt modelId="{7C11E1BA-B6EA-4432-BF9E-B8B7474780FC}" type="parTrans" cxnId="{2DB80FAF-DF06-428F-9BB9-7A2685630E58}">
      <dgm:prSet/>
      <dgm:spPr/>
      <dgm:t>
        <a:bodyPr/>
        <a:lstStyle/>
        <a:p>
          <a:endParaRPr lang="en-US"/>
        </a:p>
      </dgm:t>
    </dgm:pt>
    <dgm:pt modelId="{FFA736BB-22E9-405D-AA7D-425A8F1C548D}" type="sibTrans" cxnId="{2DB80FAF-DF06-428F-9BB9-7A2685630E58}">
      <dgm:prSet/>
      <dgm:spPr/>
      <dgm:t>
        <a:bodyPr/>
        <a:lstStyle/>
        <a:p>
          <a:endParaRPr lang="en-US"/>
        </a:p>
      </dgm:t>
    </dgm:pt>
    <dgm:pt modelId="{236465E2-9D6B-475D-BC3A-F46A3BA2CED2}">
      <dgm:prSet phldrT="[Text]" custT="1"/>
      <dgm:spPr/>
      <dgm:t>
        <a:bodyPr/>
        <a:lstStyle/>
        <a:p>
          <a:r>
            <a:rPr lang="en-US" sz="2900">
              <a:latin typeface="+mj-lt"/>
            </a:rPr>
            <a:t>Washington College Grant</a:t>
          </a:r>
        </a:p>
      </dgm:t>
    </dgm:pt>
    <dgm:pt modelId="{21FB0681-9776-41FC-BBE4-C0C36160DB33}" type="sibTrans" cxnId="{F2860427-0E5C-4ACA-8A29-DE9E6B253963}">
      <dgm:prSet/>
      <dgm:spPr/>
      <dgm:t>
        <a:bodyPr/>
        <a:lstStyle/>
        <a:p>
          <a:endParaRPr lang="en-US"/>
        </a:p>
      </dgm:t>
    </dgm:pt>
    <dgm:pt modelId="{B2ADEE30-AC91-4EEC-8F1C-D53377F9DE30}" type="parTrans" cxnId="{F2860427-0E5C-4ACA-8A29-DE9E6B253963}">
      <dgm:prSet/>
      <dgm:spPr/>
      <dgm:t>
        <a:bodyPr/>
        <a:lstStyle/>
        <a:p>
          <a:endParaRPr lang="en-US"/>
        </a:p>
      </dgm:t>
    </dgm:pt>
    <dgm:pt modelId="{8D1AAE80-AE9E-4993-BE10-5A5B94AD648B}" type="pres">
      <dgm:prSet presAssocID="{9E66B044-F07D-4598-9661-9D57A8E4F6BA}" presName="hierChild1" presStyleCnt="0">
        <dgm:presLayoutVars>
          <dgm:orgChart val="1"/>
          <dgm:chPref val="1"/>
          <dgm:dir/>
          <dgm:animOne val="branch"/>
          <dgm:animLvl val="lvl"/>
          <dgm:resizeHandles/>
        </dgm:presLayoutVars>
      </dgm:prSet>
      <dgm:spPr/>
    </dgm:pt>
    <dgm:pt modelId="{4BBBD373-092D-4B64-8771-11AA3D844870}" type="pres">
      <dgm:prSet presAssocID="{902EBED0-DB60-43AA-8584-0640E880A77D}" presName="hierRoot1" presStyleCnt="0">
        <dgm:presLayoutVars>
          <dgm:hierBranch val="init"/>
        </dgm:presLayoutVars>
      </dgm:prSet>
      <dgm:spPr/>
    </dgm:pt>
    <dgm:pt modelId="{DE8C6911-9093-4A36-8341-DDCB4D4C4FF9}" type="pres">
      <dgm:prSet presAssocID="{902EBED0-DB60-43AA-8584-0640E880A77D}" presName="rootComposite1" presStyleCnt="0"/>
      <dgm:spPr/>
    </dgm:pt>
    <dgm:pt modelId="{8DBDCC43-6A5A-4C4A-8A82-FD940DE9550E}" type="pres">
      <dgm:prSet presAssocID="{902EBED0-DB60-43AA-8584-0640E880A77D}" presName="rootText1" presStyleLbl="node0" presStyleIdx="0" presStyleCnt="1" custScaleX="344855" custScaleY="174257">
        <dgm:presLayoutVars>
          <dgm:chPref val="3"/>
        </dgm:presLayoutVars>
      </dgm:prSet>
      <dgm:spPr/>
    </dgm:pt>
    <dgm:pt modelId="{FC926D7B-D787-4559-BCBA-6AC68105566A}" type="pres">
      <dgm:prSet presAssocID="{902EBED0-DB60-43AA-8584-0640E880A77D}" presName="rootConnector1" presStyleLbl="asst0" presStyleIdx="0" presStyleCnt="0"/>
      <dgm:spPr/>
    </dgm:pt>
    <dgm:pt modelId="{E3995128-5998-4FEE-8B4D-92F268630893}" type="pres">
      <dgm:prSet presAssocID="{902EBED0-DB60-43AA-8584-0640E880A77D}" presName="hierChild2" presStyleCnt="0"/>
      <dgm:spPr/>
    </dgm:pt>
    <dgm:pt modelId="{0E5915C7-656A-4643-A93B-A31018C29B22}" type="pres">
      <dgm:prSet presAssocID="{B2ADEE30-AC91-4EEC-8F1C-D53377F9DE30}" presName="Name37" presStyleLbl="parChTrans1D2" presStyleIdx="0" presStyleCnt="2"/>
      <dgm:spPr/>
    </dgm:pt>
    <dgm:pt modelId="{DDD16D7F-C291-4FE9-893F-E748A6541F20}" type="pres">
      <dgm:prSet presAssocID="{236465E2-9D6B-475D-BC3A-F46A3BA2CED2}" presName="hierRoot2" presStyleCnt="0">
        <dgm:presLayoutVars>
          <dgm:hierBranch val="init"/>
        </dgm:presLayoutVars>
      </dgm:prSet>
      <dgm:spPr/>
    </dgm:pt>
    <dgm:pt modelId="{EB8C027F-E191-4D0A-8C47-AA095BFA3D52}" type="pres">
      <dgm:prSet presAssocID="{236465E2-9D6B-475D-BC3A-F46A3BA2CED2}" presName="rootComposite" presStyleCnt="0"/>
      <dgm:spPr/>
    </dgm:pt>
    <dgm:pt modelId="{155F3A6D-C4A2-4091-A8CD-6DAC21F3A908}" type="pres">
      <dgm:prSet presAssocID="{236465E2-9D6B-475D-BC3A-F46A3BA2CED2}" presName="rootText" presStyleLbl="node2" presStyleIdx="0" presStyleCnt="2" custScaleX="128794">
        <dgm:presLayoutVars>
          <dgm:chPref val="3"/>
        </dgm:presLayoutVars>
      </dgm:prSet>
      <dgm:spPr/>
    </dgm:pt>
    <dgm:pt modelId="{B13A6D04-714B-4456-A155-20D965BB2ECF}" type="pres">
      <dgm:prSet presAssocID="{236465E2-9D6B-475D-BC3A-F46A3BA2CED2}" presName="rootConnector" presStyleLbl="node2" presStyleIdx="0" presStyleCnt="2"/>
      <dgm:spPr/>
    </dgm:pt>
    <dgm:pt modelId="{66AB12C2-C91B-4999-9A31-D6FA809371E2}" type="pres">
      <dgm:prSet presAssocID="{236465E2-9D6B-475D-BC3A-F46A3BA2CED2}" presName="hierChild4" presStyleCnt="0"/>
      <dgm:spPr/>
    </dgm:pt>
    <dgm:pt modelId="{F4281204-5E40-4D2A-ACB3-C7A0CF8074B8}" type="pres">
      <dgm:prSet presAssocID="{236465E2-9D6B-475D-BC3A-F46A3BA2CED2}" presName="hierChild5" presStyleCnt="0"/>
      <dgm:spPr/>
    </dgm:pt>
    <dgm:pt modelId="{9A61A595-D515-4831-AA89-118AA3A79382}" type="pres">
      <dgm:prSet presAssocID="{7C11E1BA-B6EA-4432-BF9E-B8B7474780FC}" presName="Name37" presStyleLbl="parChTrans1D2" presStyleIdx="1" presStyleCnt="2"/>
      <dgm:spPr/>
    </dgm:pt>
    <dgm:pt modelId="{AD389216-FEB9-4AED-8B06-2BDC959C1D70}" type="pres">
      <dgm:prSet presAssocID="{DC321E98-7944-428F-AE79-A1C2E95D14A7}" presName="hierRoot2" presStyleCnt="0">
        <dgm:presLayoutVars>
          <dgm:hierBranch val="init"/>
        </dgm:presLayoutVars>
      </dgm:prSet>
      <dgm:spPr/>
    </dgm:pt>
    <dgm:pt modelId="{E5055B57-8439-4680-8AFA-1F3738D462C9}" type="pres">
      <dgm:prSet presAssocID="{DC321E98-7944-428F-AE79-A1C2E95D14A7}" presName="rootComposite" presStyleCnt="0"/>
      <dgm:spPr/>
    </dgm:pt>
    <dgm:pt modelId="{4EB5A2FE-8C67-416B-A3CA-17867B1EE11B}" type="pres">
      <dgm:prSet presAssocID="{DC321E98-7944-428F-AE79-A1C2E95D14A7}" presName="rootText" presStyleLbl="node2" presStyleIdx="1" presStyleCnt="2" custScaleX="129235" custLinFactNeighborX="-740" custLinFactNeighborY="1480">
        <dgm:presLayoutVars>
          <dgm:chPref val="3"/>
        </dgm:presLayoutVars>
      </dgm:prSet>
      <dgm:spPr/>
    </dgm:pt>
    <dgm:pt modelId="{61000E75-522D-4282-9FE3-65D344E601CA}" type="pres">
      <dgm:prSet presAssocID="{DC321E98-7944-428F-AE79-A1C2E95D14A7}" presName="rootConnector" presStyleLbl="node2" presStyleIdx="1" presStyleCnt="2"/>
      <dgm:spPr/>
    </dgm:pt>
    <dgm:pt modelId="{0B673DBF-16F3-4EBA-9F4B-9658FF44CB37}" type="pres">
      <dgm:prSet presAssocID="{DC321E98-7944-428F-AE79-A1C2E95D14A7}" presName="hierChild4" presStyleCnt="0"/>
      <dgm:spPr/>
    </dgm:pt>
    <dgm:pt modelId="{98866C42-BAED-4C25-9070-00CB4606EE0E}" type="pres">
      <dgm:prSet presAssocID="{DC321E98-7944-428F-AE79-A1C2E95D14A7}" presName="hierChild5" presStyleCnt="0"/>
      <dgm:spPr/>
    </dgm:pt>
    <dgm:pt modelId="{5065DAA4-433B-4E2D-B81A-745BCAE6710A}" type="pres">
      <dgm:prSet presAssocID="{902EBED0-DB60-43AA-8584-0640E880A77D}" presName="hierChild3" presStyleCnt="0"/>
      <dgm:spPr/>
    </dgm:pt>
  </dgm:ptLst>
  <dgm:cxnLst>
    <dgm:cxn modelId="{F2860427-0E5C-4ACA-8A29-DE9E6B253963}" srcId="{902EBED0-DB60-43AA-8584-0640E880A77D}" destId="{236465E2-9D6B-475D-BC3A-F46A3BA2CED2}" srcOrd="0" destOrd="0" parTransId="{B2ADEE30-AC91-4EEC-8F1C-D53377F9DE30}" sibTransId="{21FB0681-9776-41FC-BBE4-C0C36160DB33}"/>
    <dgm:cxn modelId="{97F9992C-59B4-440C-9C84-35C9063C99E6}" type="presOf" srcId="{236465E2-9D6B-475D-BC3A-F46A3BA2CED2}" destId="{B13A6D04-714B-4456-A155-20D965BB2ECF}" srcOrd="1" destOrd="0" presId="urn:microsoft.com/office/officeart/2005/8/layout/orgChart1"/>
    <dgm:cxn modelId="{EAB04A68-6B63-4527-8EB9-96E889287D46}" type="presOf" srcId="{902EBED0-DB60-43AA-8584-0640E880A77D}" destId="{FC926D7B-D787-4559-BCBA-6AC68105566A}" srcOrd="1" destOrd="0" presId="urn:microsoft.com/office/officeart/2005/8/layout/orgChart1"/>
    <dgm:cxn modelId="{D95F987C-49D8-4830-AA1E-59F3865F0792}" type="presOf" srcId="{DC321E98-7944-428F-AE79-A1C2E95D14A7}" destId="{4EB5A2FE-8C67-416B-A3CA-17867B1EE11B}" srcOrd="0" destOrd="0" presId="urn:microsoft.com/office/officeart/2005/8/layout/orgChart1"/>
    <dgm:cxn modelId="{85EF8882-8AD5-4E42-ACE4-F68BC7FB4320}" type="presOf" srcId="{236465E2-9D6B-475D-BC3A-F46A3BA2CED2}" destId="{155F3A6D-C4A2-4091-A8CD-6DAC21F3A908}" srcOrd="0" destOrd="0" presId="urn:microsoft.com/office/officeart/2005/8/layout/orgChart1"/>
    <dgm:cxn modelId="{62BB329A-7B76-47D5-86A0-CF1FAAE2CBC6}" type="presOf" srcId="{9E66B044-F07D-4598-9661-9D57A8E4F6BA}" destId="{8D1AAE80-AE9E-4993-BE10-5A5B94AD648B}" srcOrd="0" destOrd="0" presId="urn:microsoft.com/office/officeart/2005/8/layout/orgChart1"/>
    <dgm:cxn modelId="{91F76FA0-58EC-4F60-AE90-102A240B5371}" type="presOf" srcId="{7C11E1BA-B6EA-4432-BF9E-B8B7474780FC}" destId="{9A61A595-D515-4831-AA89-118AA3A79382}" srcOrd="0" destOrd="0" presId="urn:microsoft.com/office/officeart/2005/8/layout/orgChart1"/>
    <dgm:cxn modelId="{2DB80FAF-DF06-428F-9BB9-7A2685630E58}" srcId="{902EBED0-DB60-43AA-8584-0640E880A77D}" destId="{DC321E98-7944-428F-AE79-A1C2E95D14A7}" srcOrd="1" destOrd="0" parTransId="{7C11E1BA-B6EA-4432-BF9E-B8B7474780FC}" sibTransId="{FFA736BB-22E9-405D-AA7D-425A8F1C548D}"/>
    <dgm:cxn modelId="{C0AFF9BD-660D-4B97-ABCB-9A2221886EB0}" type="presOf" srcId="{902EBED0-DB60-43AA-8584-0640E880A77D}" destId="{8DBDCC43-6A5A-4C4A-8A82-FD940DE9550E}" srcOrd="0" destOrd="0" presId="urn:microsoft.com/office/officeart/2005/8/layout/orgChart1"/>
    <dgm:cxn modelId="{1A6400E7-96C3-4D19-A63C-BEC2B076473C}" type="presOf" srcId="{B2ADEE30-AC91-4EEC-8F1C-D53377F9DE30}" destId="{0E5915C7-656A-4643-A93B-A31018C29B22}" srcOrd="0" destOrd="0" presId="urn:microsoft.com/office/officeart/2005/8/layout/orgChart1"/>
    <dgm:cxn modelId="{0E92A4E8-BAD6-45A0-99E9-19352ECFD135}" srcId="{9E66B044-F07D-4598-9661-9D57A8E4F6BA}" destId="{902EBED0-DB60-43AA-8584-0640E880A77D}" srcOrd="0" destOrd="0" parTransId="{97AB23B6-F1E7-4548-B265-D210C758B61A}" sibTransId="{D3712A37-89EE-40F2-BB44-33E0E99E0AC2}"/>
    <dgm:cxn modelId="{74AD86F8-D4C5-437C-8095-F2539DDD2F91}" type="presOf" srcId="{DC321E98-7944-428F-AE79-A1C2E95D14A7}" destId="{61000E75-522D-4282-9FE3-65D344E601CA}" srcOrd="1" destOrd="0" presId="urn:microsoft.com/office/officeart/2005/8/layout/orgChart1"/>
    <dgm:cxn modelId="{ACFA5882-DE86-4FBC-B56A-69AFF5DDCC88}" type="presParOf" srcId="{8D1AAE80-AE9E-4993-BE10-5A5B94AD648B}" destId="{4BBBD373-092D-4B64-8771-11AA3D844870}" srcOrd="0" destOrd="0" presId="urn:microsoft.com/office/officeart/2005/8/layout/orgChart1"/>
    <dgm:cxn modelId="{0957A1B2-0692-43AB-A77C-3BDA7C9C6D96}" type="presParOf" srcId="{4BBBD373-092D-4B64-8771-11AA3D844870}" destId="{DE8C6911-9093-4A36-8341-DDCB4D4C4FF9}" srcOrd="0" destOrd="0" presId="urn:microsoft.com/office/officeart/2005/8/layout/orgChart1"/>
    <dgm:cxn modelId="{9A944021-1537-467E-9177-8275A57225E1}" type="presParOf" srcId="{DE8C6911-9093-4A36-8341-DDCB4D4C4FF9}" destId="{8DBDCC43-6A5A-4C4A-8A82-FD940DE9550E}" srcOrd="0" destOrd="0" presId="urn:microsoft.com/office/officeart/2005/8/layout/orgChart1"/>
    <dgm:cxn modelId="{50A5E7CC-D628-4BBE-BF36-C353732A0D2E}" type="presParOf" srcId="{DE8C6911-9093-4A36-8341-DDCB4D4C4FF9}" destId="{FC926D7B-D787-4559-BCBA-6AC68105566A}" srcOrd="1" destOrd="0" presId="urn:microsoft.com/office/officeart/2005/8/layout/orgChart1"/>
    <dgm:cxn modelId="{EC825E7D-6C78-487D-A8D8-BC122FF2D13C}" type="presParOf" srcId="{4BBBD373-092D-4B64-8771-11AA3D844870}" destId="{E3995128-5998-4FEE-8B4D-92F268630893}" srcOrd="1" destOrd="0" presId="urn:microsoft.com/office/officeart/2005/8/layout/orgChart1"/>
    <dgm:cxn modelId="{6006F7A8-E220-4268-BDF4-8A44E7CC0BB6}" type="presParOf" srcId="{E3995128-5998-4FEE-8B4D-92F268630893}" destId="{0E5915C7-656A-4643-A93B-A31018C29B22}" srcOrd="0" destOrd="0" presId="urn:microsoft.com/office/officeart/2005/8/layout/orgChart1"/>
    <dgm:cxn modelId="{AE85CA3B-A23F-4FD7-ADA9-74874EC237AF}" type="presParOf" srcId="{E3995128-5998-4FEE-8B4D-92F268630893}" destId="{DDD16D7F-C291-4FE9-893F-E748A6541F20}" srcOrd="1" destOrd="0" presId="urn:microsoft.com/office/officeart/2005/8/layout/orgChart1"/>
    <dgm:cxn modelId="{2A99FD3B-0631-4087-B199-367FF0F49065}" type="presParOf" srcId="{DDD16D7F-C291-4FE9-893F-E748A6541F20}" destId="{EB8C027F-E191-4D0A-8C47-AA095BFA3D52}" srcOrd="0" destOrd="0" presId="urn:microsoft.com/office/officeart/2005/8/layout/orgChart1"/>
    <dgm:cxn modelId="{10B9AC59-995B-45AA-B590-9F9E742793AD}" type="presParOf" srcId="{EB8C027F-E191-4D0A-8C47-AA095BFA3D52}" destId="{155F3A6D-C4A2-4091-A8CD-6DAC21F3A908}" srcOrd="0" destOrd="0" presId="urn:microsoft.com/office/officeart/2005/8/layout/orgChart1"/>
    <dgm:cxn modelId="{D2CDF42E-5C8C-43B7-B7FC-2A25BF4F61E1}" type="presParOf" srcId="{EB8C027F-E191-4D0A-8C47-AA095BFA3D52}" destId="{B13A6D04-714B-4456-A155-20D965BB2ECF}" srcOrd="1" destOrd="0" presId="urn:microsoft.com/office/officeart/2005/8/layout/orgChart1"/>
    <dgm:cxn modelId="{E56427DD-0BD2-440B-8061-9A61E8ADB79F}" type="presParOf" srcId="{DDD16D7F-C291-4FE9-893F-E748A6541F20}" destId="{66AB12C2-C91B-4999-9A31-D6FA809371E2}" srcOrd="1" destOrd="0" presId="urn:microsoft.com/office/officeart/2005/8/layout/orgChart1"/>
    <dgm:cxn modelId="{E7FB9FF2-3FD3-4F29-B12E-8762E27F4A46}" type="presParOf" srcId="{DDD16D7F-C291-4FE9-893F-E748A6541F20}" destId="{F4281204-5E40-4D2A-ACB3-C7A0CF8074B8}" srcOrd="2" destOrd="0" presId="urn:microsoft.com/office/officeart/2005/8/layout/orgChart1"/>
    <dgm:cxn modelId="{4CEBE5E3-B30D-43C7-A5DA-4A541332B9FE}" type="presParOf" srcId="{E3995128-5998-4FEE-8B4D-92F268630893}" destId="{9A61A595-D515-4831-AA89-118AA3A79382}" srcOrd="2" destOrd="0" presId="urn:microsoft.com/office/officeart/2005/8/layout/orgChart1"/>
    <dgm:cxn modelId="{EDA3C5A4-BF0E-4169-81E6-136B9E411BEE}" type="presParOf" srcId="{E3995128-5998-4FEE-8B4D-92F268630893}" destId="{AD389216-FEB9-4AED-8B06-2BDC959C1D70}" srcOrd="3" destOrd="0" presId="urn:microsoft.com/office/officeart/2005/8/layout/orgChart1"/>
    <dgm:cxn modelId="{0AB9F20D-0591-4F6A-B9A7-729381406BA7}" type="presParOf" srcId="{AD389216-FEB9-4AED-8B06-2BDC959C1D70}" destId="{E5055B57-8439-4680-8AFA-1F3738D462C9}" srcOrd="0" destOrd="0" presId="urn:microsoft.com/office/officeart/2005/8/layout/orgChart1"/>
    <dgm:cxn modelId="{2D805A22-DBA0-414A-9D56-CDD609B08D8E}" type="presParOf" srcId="{E5055B57-8439-4680-8AFA-1F3738D462C9}" destId="{4EB5A2FE-8C67-416B-A3CA-17867B1EE11B}" srcOrd="0" destOrd="0" presId="urn:microsoft.com/office/officeart/2005/8/layout/orgChart1"/>
    <dgm:cxn modelId="{FE52CBB3-17AF-4342-B7D0-0C372107B039}" type="presParOf" srcId="{E5055B57-8439-4680-8AFA-1F3738D462C9}" destId="{61000E75-522D-4282-9FE3-65D344E601CA}" srcOrd="1" destOrd="0" presId="urn:microsoft.com/office/officeart/2005/8/layout/orgChart1"/>
    <dgm:cxn modelId="{FA6D2AB0-D8E9-46E7-8E54-1E85C07C1DAD}" type="presParOf" srcId="{AD389216-FEB9-4AED-8B06-2BDC959C1D70}" destId="{0B673DBF-16F3-4EBA-9F4B-9658FF44CB37}" srcOrd="1" destOrd="0" presId="urn:microsoft.com/office/officeart/2005/8/layout/orgChart1"/>
    <dgm:cxn modelId="{F35E5B3F-602C-4D5D-B47C-FFD6656E5CC4}" type="presParOf" srcId="{AD389216-FEB9-4AED-8B06-2BDC959C1D70}" destId="{98866C42-BAED-4C25-9070-00CB4606EE0E}" srcOrd="2" destOrd="0" presId="urn:microsoft.com/office/officeart/2005/8/layout/orgChart1"/>
    <dgm:cxn modelId="{9AFBFA61-B8AF-413D-98A9-5D495AFC309D}" type="presParOf" srcId="{4BBBD373-092D-4B64-8771-11AA3D844870}" destId="{5065DAA4-433B-4E2D-B81A-745BCAE6710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E69E681-D531-4011-B667-B173C44C1991}" type="doc">
      <dgm:prSet loTypeId="urn:microsoft.com/office/officeart/2011/layout/HexagonRadial" loCatId="officeonline" qsTypeId="urn:microsoft.com/office/officeart/2005/8/quickstyle/simple1" qsCatId="simple" csTypeId="urn:microsoft.com/office/officeart/2005/8/colors/colorful1" csCatId="colorful" phldr="1"/>
      <dgm:spPr/>
      <dgm:t>
        <a:bodyPr/>
        <a:lstStyle/>
        <a:p>
          <a:endParaRPr lang="en-US"/>
        </a:p>
      </dgm:t>
    </dgm:pt>
    <dgm:pt modelId="{0B77BEE6-70B4-4965-A663-CD6084D8CA2D}">
      <dgm:prSet phldrT="[Text]"/>
      <dgm:spPr/>
      <dgm:t>
        <a:bodyPr/>
        <a:lstStyle/>
        <a:p>
          <a:r>
            <a:rPr lang="en-US" b="0">
              <a:latin typeface="+mj-lt"/>
            </a:rPr>
            <a:t>Work-Study</a:t>
          </a:r>
        </a:p>
      </dgm:t>
    </dgm:pt>
    <dgm:pt modelId="{97264BBB-2393-4957-82D6-7498ABE7FB71}" type="parTrans" cxnId="{793E3B7C-A3B4-4809-950C-BDD929B91CAA}">
      <dgm:prSet/>
      <dgm:spPr/>
      <dgm:t>
        <a:bodyPr/>
        <a:lstStyle/>
        <a:p>
          <a:endParaRPr lang="en-US"/>
        </a:p>
      </dgm:t>
    </dgm:pt>
    <dgm:pt modelId="{F9411811-F390-4D04-B1C4-284F40532DE3}" type="sibTrans" cxnId="{793E3B7C-A3B4-4809-950C-BDD929B91CAA}">
      <dgm:prSet/>
      <dgm:spPr/>
      <dgm:t>
        <a:bodyPr/>
        <a:lstStyle/>
        <a:p>
          <a:endParaRPr lang="en-US"/>
        </a:p>
      </dgm:t>
    </dgm:pt>
    <dgm:pt modelId="{3002F41C-8EDD-4468-85AB-CCF768CF9EC3}">
      <dgm:prSet phldrT="[Text]"/>
      <dgm:spPr/>
      <dgm:t>
        <a:bodyPr/>
        <a:lstStyle/>
        <a:p>
          <a:r>
            <a:rPr lang="en-US" b="0" i="0">
              <a:latin typeface="+mj-lt"/>
            </a:rPr>
            <a:t>Tutoring</a:t>
          </a:r>
          <a:endParaRPr lang="en-US" b="0">
            <a:latin typeface="+mj-lt"/>
          </a:endParaRPr>
        </a:p>
      </dgm:t>
    </dgm:pt>
    <dgm:pt modelId="{043837AA-B867-4BFA-9451-6E69B76145A5}" type="parTrans" cxnId="{92FE78E5-A6F3-44FF-B7A8-1050FDE74CEF}">
      <dgm:prSet/>
      <dgm:spPr/>
      <dgm:t>
        <a:bodyPr/>
        <a:lstStyle/>
        <a:p>
          <a:endParaRPr lang="en-US"/>
        </a:p>
      </dgm:t>
    </dgm:pt>
    <dgm:pt modelId="{32FBD4D1-D131-446F-A7E6-D6C5A89CDBB9}" type="sibTrans" cxnId="{92FE78E5-A6F3-44FF-B7A8-1050FDE74CEF}">
      <dgm:prSet/>
      <dgm:spPr/>
      <dgm:t>
        <a:bodyPr/>
        <a:lstStyle/>
        <a:p>
          <a:endParaRPr lang="en-US"/>
        </a:p>
      </dgm:t>
    </dgm:pt>
    <dgm:pt modelId="{EA113B76-7E47-4616-AB17-AB859AB51D6D}">
      <dgm:prSet phldrT="[Text]"/>
      <dgm:spPr/>
      <dgm:t>
        <a:bodyPr/>
        <a:lstStyle/>
        <a:p>
          <a:r>
            <a:rPr lang="en-US" b="0" i="0">
              <a:latin typeface="+mj-lt"/>
            </a:rPr>
            <a:t>Fitness Center</a:t>
          </a:r>
          <a:endParaRPr lang="en-US" b="0">
            <a:latin typeface="+mj-lt"/>
          </a:endParaRPr>
        </a:p>
      </dgm:t>
    </dgm:pt>
    <dgm:pt modelId="{2AD71F86-7CAC-42F2-AF9C-423A242EB2BE}" type="parTrans" cxnId="{EE5AC268-A039-44EC-9827-FA306B84E254}">
      <dgm:prSet/>
      <dgm:spPr/>
      <dgm:t>
        <a:bodyPr/>
        <a:lstStyle/>
        <a:p>
          <a:endParaRPr lang="en-US"/>
        </a:p>
      </dgm:t>
    </dgm:pt>
    <dgm:pt modelId="{6910CE63-0DA2-44E4-A5E1-6EB0E0D116EE}" type="sibTrans" cxnId="{EE5AC268-A039-44EC-9827-FA306B84E254}">
      <dgm:prSet/>
      <dgm:spPr/>
      <dgm:t>
        <a:bodyPr/>
        <a:lstStyle/>
        <a:p>
          <a:endParaRPr lang="en-US"/>
        </a:p>
      </dgm:t>
    </dgm:pt>
    <dgm:pt modelId="{B2935345-28F4-47C2-8D1B-D3F026F3F3FC}">
      <dgm:prSet phldrT="[Text]"/>
      <dgm:spPr/>
      <dgm:t>
        <a:bodyPr/>
        <a:lstStyle/>
        <a:p>
          <a:r>
            <a:rPr lang="en-US" b="0">
              <a:latin typeface="+mj-lt"/>
            </a:rPr>
            <a:t>Library</a:t>
          </a:r>
        </a:p>
      </dgm:t>
    </dgm:pt>
    <dgm:pt modelId="{A55A9185-3E04-45EA-ABF9-A7AB37F41903}" type="parTrans" cxnId="{A693AF09-303F-407C-A5DD-3F293A4F9DC3}">
      <dgm:prSet/>
      <dgm:spPr/>
      <dgm:t>
        <a:bodyPr/>
        <a:lstStyle/>
        <a:p>
          <a:endParaRPr lang="en-US"/>
        </a:p>
      </dgm:t>
    </dgm:pt>
    <dgm:pt modelId="{0CB7395D-866A-4E9F-B32F-74FED7FA05C3}" type="sibTrans" cxnId="{A693AF09-303F-407C-A5DD-3F293A4F9DC3}">
      <dgm:prSet/>
      <dgm:spPr/>
      <dgm:t>
        <a:bodyPr/>
        <a:lstStyle/>
        <a:p>
          <a:endParaRPr lang="en-US"/>
        </a:p>
      </dgm:t>
    </dgm:pt>
    <dgm:pt modelId="{8514A567-7BD3-45F4-B372-214677427C79}">
      <dgm:prSet phldrT="[Text]"/>
      <dgm:spPr/>
      <dgm:t>
        <a:bodyPr/>
        <a:lstStyle/>
        <a:p>
          <a:r>
            <a:rPr lang="en-US" b="0" i="0">
              <a:latin typeface="+mj-lt"/>
            </a:rPr>
            <a:t>Computer Lab</a:t>
          </a:r>
          <a:endParaRPr lang="en-US" b="0">
            <a:latin typeface="+mj-lt"/>
          </a:endParaRPr>
        </a:p>
      </dgm:t>
    </dgm:pt>
    <dgm:pt modelId="{4F145852-DBCE-4FA3-B469-76AE0619AEE4}" type="parTrans" cxnId="{DD7EE880-0C33-42D6-9E8C-C834F829CC7C}">
      <dgm:prSet/>
      <dgm:spPr/>
      <dgm:t>
        <a:bodyPr/>
        <a:lstStyle/>
        <a:p>
          <a:endParaRPr lang="en-US"/>
        </a:p>
      </dgm:t>
    </dgm:pt>
    <dgm:pt modelId="{EEC4157E-26FD-478D-B7D7-2B6ED7A1852B}" type="sibTrans" cxnId="{DD7EE880-0C33-42D6-9E8C-C834F829CC7C}">
      <dgm:prSet/>
      <dgm:spPr/>
      <dgm:t>
        <a:bodyPr/>
        <a:lstStyle/>
        <a:p>
          <a:endParaRPr lang="en-US"/>
        </a:p>
      </dgm:t>
    </dgm:pt>
    <dgm:pt modelId="{FBFD155F-A83D-4020-8AFB-BC2C778471C1}">
      <dgm:prSet phldrT="[Text]"/>
      <dgm:spPr/>
      <dgm:t>
        <a:bodyPr/>
        <a:lstStyle/>
        <a:p>
          <a:r>
            <a:rPr lang="en-US" b="0">
              <a:latin typeface="+mj-lt"/>
            </a:rPr>
            <a:t>Student Life</a:t>
          </a:r>
        </a:p>
      </dgm:t>
    </dgm:pt>
    <dgm:pt modelId="{D1BC07A5-4C14-4979-8956-1D682ECF345A}" type="parTrans" cxnId="{C45C8791-672A-4736-9CCB-5D75F2C97BA0}">
      <dgm:prSet/>
      <dgm:spPr/>
      <dgm:t>
        <a:bodyPr/>
        <a:lstStyle/>
        <a:p>
          <a:endParaRPr lang="en-US"/>
        </a:p>
      </dgm:t>
    </dgm:pt>
    <dgm:pt modelId="{50EFD683-3A7E-4287-B22E-B82C466DE81F}" type="sibTrans" cxnId="{C45C8791-672A-4736-9CCB-5D75F2C97BA0}">
      <dgm:prSet/>
      <dgm:spPr/>
      <dgm:t>
        <a:bodyPr/>
        <a:lstStyle/>
        <a:p>
          <a:endParaRPr lang="en-US"/>
        </a:p>
      </dgm:t>
    </dgm:pt>
    <dgm:pt modelId="{4A656FFC-7EB6-4747-AD66-7EA5659DEB64}">
      <dgm:prSet phldrT="[Text]"/>
      <dgm:spPr/>
      <dgm:t>
        <a:bodyPr/>
        <a:lstStyle/>
        <a:p>
          <a:r>
            <a:rPr lang="en-US" b="0">
              <a:latin typeface="+mj-lt"/>
            </a:rPr>
            <a:t>Outreach</a:t>
          </a:r>
        </a:p>
      </dgm:t>
    </dgm:pt>
    <dgm:pt modelId="{58F48B35-AA19-42F4-B06A-BB76313B987F}" type="parTrans" cxnId="{7FFF4D48-50C7-4FF2-A0D9-4DB9E4AF6F7C}">
      <dgm:prSet/>
      <dgm:spPr/>
      <dgm:t>
        <a:bodyPr/>
        <a:lstStyle/>
        <a:p>
          <a:endParaRPr lang="en-US"/>
        </a:p>
      </dgm:t>
    </dgm:pt>
    <dgm:pt modelId="{9A71728B-2BC1-4117-842A-0ECA3553F1F2}" type="sibTrans" cxnId="{7FFF4D48-50C7-4FF2-A0D9-4DB9E4AF6F7C}">
      <dgm:prSet/>
      <dgm:spPr/>
      <dgm:t>
        <a:bodyPr/>
        <a:lstStyle/>
        <a:p>
          <a:endParaRPr lang="en-US"/>
        </a:p>
      </dgm:t>
    </dgm:pt>
    <dgm:pt modelId="{2396648C-2356-4879-93B9-868B1633E099}" type="pres">
      <dgm:prSet presAssocID="{1E69E681-D531-4011-B667-B173C44C1991}" presName="Name0" presStyleCnt="0">
        <dgm:presLayoutVars>
          <dgm:chMax val="1"/>
          <dgm:chPref val="1"/>
          <dgm:dir/>
          <dgm:animOne val="branch"/>
          <dgm:animLvl val="lvl"/>
        </dgm:presLayoutVars>
      </dgm:prSet>
      <dgm:spPr/>
    </dgm:pt>
    <dgm:pt modelId="{69AD95CC-3379-4A73-B0BF-72FA9135A68F}" type="pres">
      <dgm:prSet presAssocID="{0B77BEE6-70B4-4965-A663-CD6084D8CA2D}" presName="Parent" presStyleLbl="node0" presStyleIdx="0" presStyleCnt="1">
        <dgm:presLayoutVars>
          <dgm:chMax val="6"/>
          <dgm:chPref val="6"/>
        </dgm:presLayoutVars>
      </dgm:prSet>
      <dgm:spPr/>
    </dgm:pt>
    <dgm:pt modelId="{062B848C-815F-4031-82BA-27CC31E574B6}" type="pres">
      <dgm:prSet presAssocID="{3002F41C-8EDD-4468-85AB-CCF768CF9EC3}" presName="Accent1" presStyleCnt="0"/>
      <dgm:spPr/>
    </dgm:pt>
    <dgm:pt modelId="{E786A68A-645F-4002-9872-A4099C656C83}" type="pres">
      <dgm:prSet presAssocID="{3002F41C-8EDD-4468-85AB-CCF768CF9EC3}" presName="Accent" presStyleLbl="bgShp" presStyleIdx="0" presStyleCnt="6"/>
      <dgm:spPr/>
    </dgm:pt>
    <dgm:pt modelId="{389192F7-F7B1-40C9-846A-3396CBDE3119}" type="pres">
      <dgm:prSet presAssocID="{3002F41C-8EDD-4468-85AB-CCF768CF9EC3}" presName="Child1" presStyleLbl="node1" presStyleIdx="0" presStyleCnt="6">
        <dgm:presLayoutVars>
          <dgm:chMax val="0"/>
          <dgm:chPref val="0"/>
          <dgm:bulletEnabled val="1"/>
        </dgm:presLayoutVars>
      </dgm:prSet>
      <dgm:spPr/>
    </dgm:pt>
    <dgm:pt modelId="{27A166D3-939A-4AD7-8DDD-183F20730EB6}" type="pres">
      <dgm:prSet presAssocID="{EA113B76-7E47-4616-AB17-AB859AB51D6D}" presName="Accent2" presStyleCnt="0"/>
      <dgm:spPr/>
    </dgm:pt>
    <dgm:pt modelId="{DDA1AB3F-573E-41A2-8EF8-8BE47107F68C}" type="pres">
      <dgm:prSet presAssocID="{EA113B76-7E47-4616-AB17-AB859AB51D6D}" presName="Accent" presStyleLbl="bgShp" presStyleIdx="1" presStyleCnt="6" custLinFactX="-100000" custLinFactY="230432" custLinFactNeighborX="-156887" custLinFactNeighborY="300000"/>
      <dgm:spPr/>
    </dgm:pt>
    <dgm:pt modelId="{20A57795-2D8B-43B8-A094-8626EE386001}" type="pres">
      <dgm:prSet presAssocID="{EA113B76-7E47-4616-AB17-AB859AB51D6D}" presName="Child2" presStyleLbl="node1" presStyleIdx="1" presStyleCnt="6">
        <dgm:presLayoutVars>
          <dgm:chMax val="0"/>
          <dgm:chPref val="0"/>
          <dgm:bulletEnabled val="1"/>
        </dgm:presLayoutVars>
      </dgm:prSet>
      <dgm:spPr/>
    </dgm:pt>
    <dgm:pt modelId="{10B11F32-4C27-4147-96FD-B799F13C52B1}" type="pres">
      <dgm:prSet presAssocID="{B2935345-28F4-47C2-8D1B-D3F026F3F3FC}" presName="Accent3" presStyleCnt="0"/>
      <dgm:spPr/>
    </dgm:pt>
    <dgm:pt modelId="{D34B6688-F82E-4C7C-BCFC-2034F2DC21B1}" type="pres">
      <dgm:prSet presAssocID="{B2935345-28F4-47C2-8D1B-D3F026F3F3FC}" presName="Accent" presStyleLbl="bgShp" presStyleIdx="2" presStyleCnt="6" custLinFactY="-100000" custLinFactNeighborX="-31561" custLinFactNeighborY="-195320"/>
      <dgm:spPr/>
    </dgm:pt>
    <dgm:pt modelId="{47A92EF8-0821-4686-BF33-32E42AF054E8}" type="pres">
      <dgm:prSet presAssocID="{B2935345-28F4-47C2-8D1B-D3F026F3F3FC}" presName="Child3" presStyleLbl="node1" presStyleIdx="2" presStyleCnt="6">
        <dgm:presLayoutVars>
          <dgm:chMax val="0"/>
          <dgm:chPref val="0"/>
          <dgm:bulletEnabled val="1"/>
        </dgm:presLayoutVars>
      </dgm:prSet>
      <dgm:spPr/>
    </dgm:pt>
    <dgm:pt modelId="{C2723F32-2F7C-4920-82CE-D9755B03DC4F}" type="pres">
      <dgm:prSet presAssocID="{8514A567-7BD3-45F4-B372-214677427C79}" presName="Accent4" presStyleCnt="0"/>
      <dgm:spPr/>
    </dgm:pt>
    <dgm:pt modelId="{CA4FA584-D59F-4E42-9AC9-20EA9037F5E4}" type="pres">
      <dgm:prSet presAssocID="{8514A567-7BD3-45F4-B372-214677427C79}" presName="Accent" presStyleLbl="bgShp" presStyleIdx="3" presStyleCnt="6" custLinFactX="-100000" custLinFactY="-200000" custLinFactNeighborX="-185986" custLinFactNeighborY="-299676"/>
      <dgm:spPr/>
    </dgm:pt>
    <dgm:pt modelId="{A2306791-AD59-4F1E-86E4-264DF306853A}" type="pres">
      <dgm:prSet presAssocID="{8514A567-7BD3-45F4-B372-214677427C79}" presName="Child4" presStyleLbl="node1" presStyleIdx="3" presStyleCnt="6">
        <dgm:presLayoutVars>
          <dgm:chMax val="0"/>
          <dgm:chPref val="0"/>
          <dgm:bulletEnabled val="1"/>
        </dgm:presLayoutVars>
      </dgm:prSet>
      <dgm:spPr/>
    </dgm:pt>
    <dgm:pt modelId="{140D4FCC-E1A3-4EF2-9091-EE0CBB1898A4}" type="pres">
      <dgm:prSet presAssocID="{FBFD155F-A83D-4020-8AFB-BC2C778471C1}" presName="Accent5" presStyleCnt="0"/>
      <dgm:spPr/>
    </dgm:pt>
    <dgm:pt modelId="{3C490377-36B7-49B8-804F-F33DDEB03D3D}" type="pres">
      <dgm:prSet presAssocID="{FBFD155F-A83D-4020-8AFB-BC2C778471C1}" presName="Accent" presStyleLbl="bgShp" presStyleIdx="4" presStyleCnt="6" custLinFactY="7217" custLinFactNeighborX="-86227" custLinFactNeighborY="100000"/>
      <dgm:spPr/>
    </dgm:pt>
    <dgm:pt modelId="{A7535155-AEA2-446C-9AB5-ECE52B558BED}" type="pres">
      <dgm:prSet presAssocID="{FBFD155F-A83D-4020-8AFB-BC2C778471C1}" presName="Child5" presStyleLbl="node1" presStyleIdx="4" presStyleCnt="6">
        <dgm:presLayoutVars>
          <dgm:chMax val="0"/>
          <dgm:chPref val="0"/>
          <dgm:bulletEnabled val="1"/>
        </dgm:presLayoutVars>
      </dgm:prSet>
      <dgm:spPr/>
    </dgm:pt>
    <dgm:pt modelId="{BBA0171A-1D01-48F6-927B-E98CEDF36C51}" type="pres">
      <dgm:prSet presAssocID="{4A656FFC-7EB6-4747-AD66-7EA5659DEB64}" presName="Accent6" presStyleCnt="0"/>
      <dgm:spPr/>
    </dgm:pt>
    <dgm:pt modelId="{851CCD39-6205-428F-8D61-A00C0FB47947}" type="pres">
      <dgm:prSet presAssocID="{4A656FFC-7EB6-4747-AD66-7EA5659DEB64}" presName="Accent" presStyleLbl="bgShp" presStyleIdx="5" presStyleCnt="6" custLinFactX="162153" custLinFactY="100000" custLinFactNeighborX="200000" custLinFactNeighborY="195756"/>
      <dgm:spPr/>
    </dgm:pt>
    <dgm:pt modelId="{D39CC2E8-C032-44BA-90D8-989F6976E989}" type="pres">
      <dgm:prSet presAssocID="{4A656FFC-7EB6-4747-AD66-7EA5659DEB64}" presName="Child6" presStyleLbl="node1" presStyleIdx="5" presStyleCnt="6">
        <dgm:presLayoutVars>
          <dgm:chMax val="0"/>
          <dgm:chPref val="0"/>
          <dgm:bulletEnabled val="1"/>
        </dgm:presLayoutVars>
      </dgm:prSet>
      <dgm:spPr/>
    </dgm:pt>
  </dgm:ptLst>
  <dgm:cxnLst>
    <dgm:cxn modelId="{A693AF09-303F-407C-A5DD-3F293A4F9DC3}" srcId="{0B77BEE6-70B4-4965-A663-CD6084D8CA2D}" destId="{B2935345-28F4-47C2-8D1B-D3F026F3F3FC}" srcOrd="2" destOrd="0" parTransId="{A55A9185-3E04-45EA-ABF9-A7AB37F41903}" sibTransId="{0CB7395D-866A-4E9F-B32F-74FED7FA05C3}"/>
    <dgm:cxn modelId="{60F65A2E-3147-413A-BC9D-C59D98BFF1EE}" type="presOf" srcId="{EA113B76-7E47-4616-AB17-AB859AB51D6D}" destId="{20A57795-2D8B-43B8-A094-8626EE386001}" srcOrd="0" destOrd="0" presId="urn:microsoft.com/office/officeart/2011/layout/HexagonRadial"/>
    <dgm:cxn modelId="{8B6CA630-4857-4BF5-A9CD-3276BA9F8A06}" type="presOf" srcId="{1E69E681-D531-4011-B667-B173C44C1991}" destId="{2396648C-2356-4879-93B9-868B1633E099}" srcOrd="0" destOrd="0" presId="urn:microsoft.com/office/officeart/2011/layout/HexagonRadial"/>
    <dgm:cxn modelId="{7FFF4D48-50C7-4FF2-A0D9-4DB9E4AF6F7C}" srcId="{0B77BEE6-70B4-4965-A663-CD6084D8CA2D}" destId="{4A656FFC-7EB6-4747-AD66-7EA5659DEB64}" srcOrd="5" destOrd="0" parTransId="{58F48B35-AA19-42F4-B06A-BB76313B987F}" sibTransId="{9A71728B-2BC1-4117-842A-0ECA3553F1F2}"/>
    <dgm:cxn modelId="{EE5AC268-A039-44EC-9827-FA306B84E254}" srcId="{0B77BEE6-70B4-4965-A663-CD6084D8CA2D}" destId="{EA113B76-7E47-4616-AB17-AB859AB51D6D}" srcOrd="1" destOrd="0" parTransId="{2AD71F86-7CAC-42F2-AF9C-423A242EB2BE}" sibTransId="{6910CE63-0DA2-44E4-A5E1-6EB0E0D116EE}"/>
    <dgm:cxn modelId="{DE570350-DD4F-41BD-82EA-EEAE2AC4DD01}" type="presOf" srcId="{B2935345-28F4-47C2-8D1B-D3F026F3F3FC}" destId="{47A92EF8-0821-4686-BF33-32E42AF054E8}" srcOrd="0" destOrd="0" presId="urn:microsoft.com/office/officeart/2011/layout/HexagonRadial"/>
    <dgm:cxn modelId="{793E3B7C-A3B4-4809-950C-BDD929B91CAA}" srcId="{1E69E681-D531-4011-B667-B173C44C1991}" destId="{0B77BEE6-70B4-4965-A663-CD6084D8CA2D}" srcOrd="0" destOrd="0" parTransId="{97264BBB-2393-4957-82D6-7498ABE7FB71}" sibTransId="{F9411811-F390-4D04-B1C4-284F40532DE3}"/>
    <dgm:cxn modelId="{DD7EE880-0C33-42D6-9E8C-C834F829CC7C}" srcId="{0B77BEE6-70B4-4965-A663-CD6084D8CA2D}" destId="{8514A567-7BD3-45F4-B372-214677427C79}" srcOrd="3" destOrd="0" parTransId="{4F145852-DBCE-4FA3-B469-76AE0619AEE4}" sibTransId="{EEC4157E-26FD-478D-B7D7-2B6ED7A1852B}"/>
    <dgm:cxn modelId="{C45C8791-672A-4736-9CCB-5D75F2C97BA0}" srcId="{0B77BEE6-70B4-4965-A663-CD6084D8CA2D}" destId="{FBFD155F-A83D-4020-8AFB-BC2C778471C1}" srcOrd="4" destOrd="0" parTransId="{D1BC07A5-4C14-4979-8956-1D682ECF345A}" sibTransId="{50EFD683-3A7E-4287-B22E-B82C466DE81F}"/>
    <dgm:cxn modelId="{0966E9B6-C34C-44BC-9352-5C3E377EADA1}" type="presOf" srcId="{8514A567-7BD3-45F4-B372-214677427C79}" destId="{A2306791-AD59-4F1E-86E4-264DF306853A}" srcOrd="0" destOrd="0" presId="urn:microsoft.com/office/officeart/2011/layout/HexagonRadial"/>
    <dgm:cxn modelId="{92C8A6BE-9AC6-43E1-949F-8E51F8B8485D}" type="presOf" srcId="{4A656FFC-7EB6-4747-AD66-7EA5659DEB64}" destId="{D39CC2E8-C032-44BA-90D8-989F6976E989}" srcOrd="0" destOrd="0" presId="urn:microsoft.com/office/officeart/2011/layout/HexagonRadial"/>
    <dgm:cxn modelId="{A4242BC2-7847-4C63-BB75-35C391788D1E}" type="presOf" srcId="{0B77BEE6-70B4-4965-A663-CD6084D8CA2D}" destId="{69AD95CC-3379-4A73-B0BF-72FA9135A68F}" srcOrd="0" destOrd="0" presId="urn:microsoft.com/office/officeart/2011/layout/HexagonRadial"/>
    <dgm:cxn modelId="{FA9CBCCA-424F-471F-8442-37E9689D80F5}" type="presOf" srcId="{FBFD155F-A83D-4020-8AFB-BC2C778471C1}" destId="{A7535155-AEA2-446C-9AB5-ECE52B558BED}" srcOrd="0" destOrd="0" presId="urn:microsoft.com/office/officeart/2011/layout/HexagonRadial"/>
    <dgm:cxn modelId="{92FE78E5-A6F3-44FF-B7A8-1050FDE74CEF}" srcId="{0B77BEE6-70B4-4965-A663-CD6084D8CA2D}" destId="{3002F41C-8EDD-4468-85AB-CCF768CF9EC3}" srcOrd="0" destOrd="0" parTransId="{043837AA-B867-4BFA-9451-6E69B76145A5}" sibTransId="{32FBD4D1-D131-446F-A7E6-D6C5A89CDBB9}"/>
    <dgm:cxn modelId="{FB5C78FD-4962-4315-B5AB-C5212B8D7E05}" type="presOf" srcId="{3002F41C-8EDD-4468-85AB-CCF768CF9EC3}" destId="{389192F7-F7B1-40C9-846A-3396CBDE3119}" srcOrd="0" destOrd="0" presId="urn:microsoft.com/office/officeart/2011/layout/HexagonRadial"/>
    <dgm:cxn modelId="{CCFFB5D0-D52C-46EF-A33E-873ADDEC070B}" type="presParOf" srcId="{2396648C-2356-4879-93B9-868B1633E099}" destId="{69AD95CC-3379-4A73-B0BF-72FA9135A68F}" srcOrd="0" destOrd="0" presId="urn:microsoft.com/office/officeart/2011/layout/HexagonRadial"/>
    <dgm:cxn modelId="{69A1E1E0-37DA-4B5C-B89F-D2CEA6955010}" type="presParOf" srcId="{2396648C-2356-4879-93B9-868B1633E099}" destId="{062B848C-815F-4031-82BA-27CC31E574B6}" srcOrd="1" destOrd="0" presId="urn:microsoft.com/office/officeart/2011/layout/HexagonRadial"/>
    <dgm:cxn modelId="{31AFE9EF-76D2-4424-A653-66358D7C5741}" type="presParOf" srcId="{062B848C-815F-4031-82BA-27CC31E574B6}" destId="{E786A68A-645F-4002-9872-A4099C656C83}" srcOrd="0" destOrd="0" presId="urn:microsoft.com/office/officeart/2011/layout/HexagonRadial"/>
    <dgm:cxn modelId="{84F6DF38-4B01-420B-9D17-43203EDDC7F0}" type="presParOf" srcId="{2396648C-2356-4879-93B9-868B1633E099}" destId="{389192F7-F7B1-40C9-846A-3396CBDE3119}" srcOrd="2" destOrd="0" presId="urn:microsoft.com/office/officeart/2011/layout/HexagonRadial"/>
    <dgm:cxn modelId="{931BCAA5-142D-4FA1-BCA6-4E2FA2A052A3}" type="presParOf" srcId="{2396648C-2356-4879-93B9-868B1633E099}" destId="{27A166D3-939A-4AD7-8DDD-183F20730EB6}" srcOrd="3" destOrd="0" presId="urn:microsoft.com/office/officeart/2011/layout/HexagonRadial"/>
    <dgm:cxn modelId="{D36F0C1D-EFC8-4663-B5AD-1865B53CBC07}" type="presParOf" srcId="{27A166D3-939A-4AD7-8DDD-183F20730EB6}" destId="{DDA1AB3F-573E-41A2-8EF8-8BE47107F68C}" srcOrd="0" destOrd="0" presId="urn:microsoft.com/office/officeart/2011/layout/HexagonRadial"/>
    <dgm:cxn modelId="{7D3ACBD3-80D6-4C89-9AF5-D30E51BF92F8}" type="presParOf" srcId="{2396648C-2356-4879-93B9-868B1633E099}" destId="{20A57795-2D8B-43B8-A094-8626EE386001}" srcOrd="4" destOrd="0" presId="urn:microsoft.com/office/officeart/2011/layout/HexagonRadial"/>
    <dgm:cxn modelId="{C5ADD459-EEB0-4600-A268-DFB411305590}" type="presParOf" srcId="{2396648C-2356-4879-93B9-868B1633E099}" destId="{10B11F32-4C27-4147-96FD-B799F13C52B1}" srcOrd="5" destOrd="0" presId="urn:microsoft.com/office/officeart/2011/layout/HexagonRadial"/>
    <dgm:cxn modelId="{64301102-9ECD-4DA6-A345-83A27E732FE5}" type="presParOf" srcId="{10B11F32-4C27-4147-96FD-B799F13C52B1}" destId="{D34B6688-F82E-4C7C-BCFC-2034F2DC21B1}" srcOrd="0" destOrd="0" presId="urn:microsoft.com/office/officeart/2011/layout/HexagonRadial"/>
    <dgm:cxn modelId="{C741E6FE-852C-44D7-AF44-DAD60864F370}" type="presParOf" srcId="{2396648C-2356-4879-93B9-868B1633E099}" destId="{47A92EF8-0821-4686-BF33-32E42AF054E8}" srcOrd="6" destOrd="0" presId="urn:microsoft.com/office/officeart/2011/layout/HexagonRadial"/>
    <dgm:cxn modelId="{72AA24A8-DBE2-40BF-BAED-06408D6FA7D2}" type="presParOf" srcId="{2396648C-2356-4879-93B9-868B1633E099}" destId="{C2723F32-2F7C-4920-82CE-D9755B03DC4F}" srcOrd="7" destOrd="0" presId="urn:microsoft.com/office/officeart/2011/layout/HexagonRadial"/>
    <dgm:cxn modelId="{A46CE36B-B593-4C86-9700-BEA94FFD6A7E}" type="presParOf" srcId="{C2723F32-2F7C-4920-82CE-D9755B03DC4F}" destId="{CA4FA584-D59F-4E42-9AC9-20EA9037F5E4}" srcOrd="0" destOrd="0" presId="urn:microsoft.com/office/officeart/2011/layout/HexagonRadial"/>
    <dgm:cxn modelId="{B0417358-888B-4B42-8F03-8F6DF21BDD9D}" type="presParOf" srcId="{2396648C-2356-4879-93B9-868B1633E099}" destId="{A2306791-AD59-4F1E-86E4-264DF306853A}" srcOrd="8" destOrd="0" presId="urn:microsoft.com/office/officeart/2011/layout/HexagonRadial"/>
    <dgm:cxn modelId="{C323B7E3-799B-422F-8A1B-20AA64ED4B2F}" type="presParOf" srcId="{2396648C-2356-4879-93B9-868B1633E099}" destId="{140D4FCC-E1A3-4EF2-9091-EE0CBB1898A4}" srcOrd="9" destOrd="0" presId="urn:microsoft.com/office/officeart/2011/layout/HexagonRadial"/>
    <dgm:cxn modelId="{03BDE018-C4C0-4B6B-8228-9A497AA84414}" type="presParOf" srcId="{140D4FCC-E1A3-4EF2-9091-EE0CBB1898A4}" destId="{3C490377-36B7-49B8-804F-F33DDEB03D3D}" srcOrd="0" destOrd="0" presId="urn:microsoft.com/office/officeart/2011/layout/HexagonRadial"/>
    <dgm:cxn modelId="{76D147D6-4C6D-448E-8BDA-06C43012AE34}" type="presParOf" srcId="{2396648C-2356-4879-93B9-868B1633E099}" destId="{A7535155-AEA2-446C-9AB5-ECE52B558BED}" srcOrd="10" destOrd="0" presId="urn:microsoft.com/office/officeart/2011/layout/HexagonRadial"/>
    <dgm:cxn modelId="{B806EAAA-F5F3-4D65-A2F1-18C5A60C2618}" type="presParOf" srcId="{2396648C-2356-4879-93B9-868B1633E099}" destId="{BBA0171A-1D01-48F6-927B-E98CEDF36C51}" srcOrd="11" destOrd="0" presId="urn:microsoft.com/office/officeart/2011/layout/HexagonRadial"/>
    <dgm:cxn modelId="{CFE5C3DF-4A41-4800-AFF1-AC71A59021EE}" type="presParOf" srcId="{BBA0171A-1D01-48F6-927B-E98CEDF36C51}" destId="{851CCD39-6205-428F-8D61-A00C0FB47947}" srcOrd="0" destOrd="0" presId="urn:microsoft.com/office/officeart/2011/layout/HexagonRadial"/>
    <dgm:cxn modelId="{5FA74AD2-E678-4310-82AE-B314A9E1CA31}" type="presParOf" srcId="{2396648C-2356-4879-93B9-868B1633E099}" destId="{D39CC2E8-C032-44BA-90D8-989F6976E989}"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10B9E4D-E556-4134-9B55-E591F280F8B6}"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0819BE3A-309A-4B2B-B089-8CDE621C5D8E}">
      <dgm:prSet phldrT="[Text]" custT="1"/>
      <dgm:spPr/>
      <dgm:t>
        <a:bodyPr/>
        <a:lstStyle/>
        <a:p>
          <a:pPr algn="ctr"/>
          <a:r>
            <a:rPr lang="es-ES" sz="2900" b="1">
              <a:latin typeface="+mj-lt"/>
            </a:rPr>
            <a:t>Préstamos Estudiantiles Subsidiados</a:t>
          </a:r>
          <a:endParaRPr lang="en-US" sz="2900" b="1">
            <a:latin typeface="+mj-lt"/>
          </a:endParaRPr>
        </a:p>
      </dgm:t>
    </dgm:pt>
    <dgm:pt modelId="{9FA42C2A-C26F-4730-BA49-A86EEE18202F}" type="parTrans" cxnId="{BC64AEEF-BF01-4254-B7F3-640F41D41BD8}">
      <dgm:prSet/>
      <dgm:spPr/>
      <dgm:t>
        <a:bodyPr/>
        <a:lstStyle/>
        <a:p>
          <a:endParaRPr lang="en-US"/>
        </a:p>
      </dgm:t>
    </dgm:pt>
    <dgm:pt modelId="{FC834FFE-B73F-40E9-B267-07E5792A3BCA}" type="sibTrans" cxnId="{BC64AEEF-BF01-4254-B7F3-640F41D41BD8}">
      <dgm:prSet/>
      <dgm:spPr/>
      <dgm:t>
        <a:bodyPr/>
        <a:lstStyle/>
        <a:p>
          <a:endParaRPr lang="en-US"/>
        </a:p>
      </dgm:t>
    </dgm:pt>
    <dgm:pt modelId="{37333EAF-EFC1-40F9-B91C-F269C7303DE0}">
      <dgm:prSet phldrT="[Text]"/>
      <dgm:spPr/>
      <dgm:t>
        <a:bodyPr/>
        <a:lstStyle/>
        <a:p>
          <a:pPr algn="ctr"/>
          <a:r>
            <a:rPr lang="es-ES" b="1">
              <a:latin typeface="+mj-lt"/>
            </a:rPr>
            <a:t>Préstamos Estudiantiles Sin Subsidio</a:t>
          </a:r>
          <a:endParaRPr lang="en-US" b="1">
            <a:latin typeface="+mj-lt"/>
          </a:endParaRPr>
        </a:p>
      </dgm:t>
    </dgm:pt>
    <dgm:pt modelId="{99E93293-904F-4A29-901F-3885585F1DB6}" type="sibTrans" cxnId="{7716F50E-D3DF-4194-9F12-BA2553F11B85}">
      <dgm:prSet/>
      <dgm:spPr/>
      <dgm:t>
        <a:bodyPr/>
        <a:lstStyle/>
        <a:p>
          <a:endParaRPr lang="en-US"/>
        </a:p>
      </dgm:t>
    </dgm:pt>
    <dgm:pt modelId="{557FF104-33EF-4BD0-921D-85DE865AF43A}" type="parTrans" cxnId="{7716F50E-D3DF-4194-9F12-BA2553F11B85}">
      <dgm:prSet/>
      <dgm:spPr/>
      <dgm:t>
        <a:bodyPr/>
        <a:lstStyle/>
        <a:p>
          <a:endParaRPr lang="en-US"/>
        </a:p>
      </dgm:t>
    </dgm:pt>
    <dgm:pt modelId="{F1815B21-3CB1-49FA-AE44-1F07E9D9A1EB}">
      <dgm:prSet phldrT="[Text]"/>
      <dgm:spPr/>
      <dgm:t>
        <a:bodyPr/>
        <a:lstStyle/>
        <a:p>
          <a:r>
            <a:rPr lang="es-ES">
              <a:latin typeface="+mj-lt"/>
            </a:rPr>
            <a:t>Los intereses comienzan a acumularse tan pronto como se desembolsa el préstamo, incluso mientras está inscrito en la escuela.</a:t>
          </a:r>
          <a:endParaRPr lang="en-US" b="1">
            <a:latin typeface="+mj-lt"/>
          </a:endParaRPr>
        </a:p>
      </dgm:t>
    </dgm:pt>
    <dgm:pt modelId="{F54F224B-CADC-4455-A87C-CDCF4ADA3922}" type="parTrans" cxnId="{571F6BA8-D45C-4347-8D10-964D831BAE4C}">
      <dgm:prSet/>
      <dgm:spPr/>
      <dgm:t>
        <a:bodyPr/>
        <a:lstStyle/>
        <a:p>
          <a:endParaRPr lang="en-US"/>
        </a:p>
      </dgm:t>
    </dgm:pt>
    <dgm:pt modelId="{ABE1CB62-111B-45EB-BA8F-8447093D92B8}" type="sibTrans" cxnId="{571F6BA8-D45C-4347-8D10-964D831BAE4C}">
      <dgm:prSet/>
      <dgm:spPr/>
      <dgm:t>
        <a:bodyPr/>
        <a:lstStyle/>
        <a:p>
          <a:endParaRPr lang="en-US"/>
        </a:p>
      </dgm:t>
    </dgm:pt>
    <dgm:pt modelId="{214A9DBA-5164-42C8-ADC4-2B77E0A1AB68}">
      <dgm:prSet phldrT="[Text]"/>
      <dgm:spPr/>
      <dgm:t>
        <a:bodyPr/>
        <a:lstStyle/>
        <a:p>
          <a:r>
            <a:rPr lang="es-ES">
              <a:latin typeface="+mj-lt"/>
            </a:rPr>
            <a:t>Los intereses se pagan aunque  esté matriculado medio tiempo.</a:t>
          </a:r>
          <a:endParaRPr lang="en-US">
            <a:latin typeface="+mj-lt"/>
          </a:endParaRPr>
        </a:p>
      </dgm:t>
    </dgm:pt>
    <dgm:pt modelId="{36A9D38B-DC09-426D-9416-D84D88CFE101}" type="parTrans" cxnId="{E3DA17C6-E04D-4257-86C7-51C6770217EF}">
      <dgm:prSet/>
      <dgm:spPr/>
      <dgm:t>
        <a:bodyPr/>
        <a:lstStyle/>
        <a:p>
          <a:endParaRPr lang="en-US"/>
        </a:p>
      </dgm:t>
    </dgm:pt>
    <dgm:pt modelId="{CBA6A33B-13C2-41AB-955F-1822BF712307}" type="sibTrans" cxnId="{E3DA17C6-E04D-4257-86C7-51C6770217EF}">
      <dgm:prSet/>
      <dgm:spPr/>
      <dgm:t>
        <a:bodyPr/>
        <a:lstStyle/>
        <a:p>
          <a:endParaRPr lang="en-US"/>
        </a:p>
      </dgm:t>
    </dgm:pt>
    <dgm:pt modelId="{F329D9F5-2B53-4297-AE52-60F1BE34F87F}" type="pres">
      <dgm:prSet presAssocID="{710B9E4D-E556-4134-9B55-E591F280F8B6}" presName="linear" presStyleCnt="0">
        <dgm:presLayoutVars>
          <dgm:animLvl val="lvl"/>
          <dgm:resizeHandles val="exact"/>
        </dgm:presLayoutVars>
      </dgm:prSet>
      <dgm:spPr/>
    </dgm:pt>
    <dgm:pt modelId="{D9550EFE-7958-4EA8-A79B-4AA57AFEEB79}" type="pres">
      <dgm:prSet presAssocID="{37333EAF-EFC1-40F9-B91C-F269C7303DE0}" presName="parentText" presStyleLbl="node1" presStyleIdx="0" presStyleCnt="2">
        <dgm:presLayoutVars>
          <dgm:chMax val="0"/>
          <dgm:bulletEnabled val="1"/>
        </dgm:presLayoutVars>
      </dgm:prSet>
      <dgm:spPr/>
    </dgm:pt>
    <dgm:pt modelId="{0D83D8F9-0416-4C06-823C-3FBB7DE5C568}" type="pres">
      <dgm:prSet presAssocID="{37333EAF-EFC1-40F9-B91C-F269C7303DE0}" presName="childText" presStyleLbl="revTx" presStyleIdx="0" presStyleCnt="2">
        <dgm:presLayoutVars>
          <dgm:bulletEnabled val="1"/>
        </dgm:presLayoutVars>
      </dgm:prSet>
      <dgm:spPr/>
    </dgm:pt>
    <dgm:pt modelId="{147835DF-2C56-4C19-83D1-25ECCCF0A262}" type="pres">
      <dgm:prSet presAssocID="{0819BE3A-309A-4B2B-B089-8CDE621C5D8E}" presName="parentText" presStyleLbl="node1" presStyleIdx="1" presStyleCnt="2">
        <dgm:presLayoutVars>
          <dgm:chMax val="0"/>
          <dgm:bulletEnabled val="1"/>
        </dgm:presLayoutVars>
      </dgm:prSet>
      <dgm:spPr/>
    </dgm:pt>
    <dgm:pt modelId="{0FB7A219-0617-4F7B-8DF6-017F91686146}" type="pres">
      <dgm:prSet presAssocID="{0819BE3A-309A-4B2B-B089-8CDE621C5D8E}" presName="childText" presStyleLbl="revTx" presStyleIdx="1" presStyleCnt="2">
        <dgm:presLayoutVars>
          <dgm:bulletEnabled val="1"/>
        </dgm:presLayoutVars>
      </dgm:prSet>
      <dgm:spPr/>
    </dgm:pt>
  </dgm:ptLst>
  <dgm:cxnLst>
    <dgm:cxn modelId="{7716F50E-D3DF-4194-9F12-BA2553F11B85}" srcId="{710B9E4D-E556-4134-9B55-E591F280F8B6}" destId="{37333EAF-EFC1-40F9-B91C-F269C7303DE0}" srcOrd="0" destOrd="0" parTransId="{557FF104-33EF-4BD0-921D-85DE865AF43A}" sibTransId="{99E93293-904F-4A29-901F-3885585F1DB6}"/>
    <dgm:cxn modelId="{E63F3131-1871-4CEE-958B-A23172443CBC}" type="presOf" srcId="{214A9DBA-5164-42C8-ADC4-2B77E0A1AB68}" destId="{0FB7A219-0617-4F7B-8DF6-017F91686146}" srcOrd="0" destOrd="0" presId="urn:microsoft.com/office/officeart/2005/8/layout/vList2"/>
    <dgm:cxn modelId="{FCA4BC49-5902-421F-87C7-418719E46BB6}" type="presOf" srcId="{710B9E4D-E556-4134-9B55-E591F280F8B6}" destId="{F329D9F5-2B53-4297-AE52-60F1BE34F87F}" srcOrd="0" destOrd="0" presId="urn:microsoft.com/office/officeart/2005/8/layout/vList2"/>
    <dgm:cxn modelId="{F8FABA80-8C93-4DF8-9322-78C699022CAA}" type="presOf" srcId="{37333EAF-EFC1-40F9-B91C-F269C7303DE0}" destId="{D9550EFE-7958-4EA8-A79B-4AA57AFEEB79}" srcOrd="0" destOrd="0" presId="urn:microsoft.com/office/officeart/2005/8/layout/vList2"/>
    <dgm:cxn modelId="{11630797-9FEA-4A6B-B22F-341ECF73B51E}" type="presOf" srcId="{0819BE3A-309A-4B2B-B089-8CDE621C5D8E}" destId="{147835DF-2C56-4C19-83D1-25ECCCF0A262}" srcOrd="0" destOrd="0" presId="urn:microsoft.com/office/officeart/2005/8/layout/vList2"/>
    <dgm:cxn modelId="{571F6BA8-D45C-4347-8D10-964D831BAE4C}" srcId="{37333EAF-EFC1-40F9-B91C-F269C7303DE0}" destId="{F1815B21-3CB1-49FA-AE44-1F07E9D9A1EB}" srcOrd="0" destOrd="0" parTransId="{F54F224B-CADC-4455-A87C-CDCF4ADA3922}" sibTransId="{ABE1CB62-111B-45EB-BA8F-8447093D92B8}"/>
    <dgm:cxn modelId="{E3DA17C6-E04D-4257-86C7-51C6770217EF}" srcId="{0819BE3A-309A-4B2B-B089-8CDE621C5D8E}" destId="{214A9DBA-5164-42C8-ADC4-2B77E0A1AB68}" srcOrd="0" destOrd="0" parTransId="{36A9D38B-DC09-426D-9416-D84D88CFE101}" sibTransId="{CBA6A33B-13C2-41AB-955F-1822BF712307}"/>
    <dgm:cxn modelId="{4B04DCDC-C974-4196-94E2-D7617181CC39}" type="presOf" srcId="{F1815B21-3CB1-49FA-AE44-1F07E9D9A1EB}" destId="{0D83D8F9-0416-4C06-823C-3FBB7DE5C568}" srcOrd="0" destOrd="0" presId="urn:microsoft.com/office/officeart/2005/8/layout/vList2"/>
    <dgm:cxn modelId="{BC64AEEF-BF01-4254-B7F3-640F41D41BD8}" srcId="{710B9E4D-E556-4134-9B55-E591F280F8B6}" destId="{0819BE3A-309A-4B2B-B089-8CDE621C5D8E}" srcOrd="1" destOrd="0" parTransId="{9FA42C2A-C26F-4730-BA49-A86EEE18202F}" sibTransId="{FC834FFE-B73F-40E9-B267-07E5792A3BCA}"/>
    <dgm:cxn modelId="{74E8F032-EF08-4AFC-BEC2-62AFEA2D365C}" type="presParOf" srcId="{F329D9F5-2B53-4297-AE52-60F1BE34F87F}" destId="{D9550EFE-7958-4EA8-A79B-4AA57AFEEB79}" srcOrd="0" destOrd="0" presId="urn:microsoft.com/office/officeart/2005/8/layout/vList2"/>
    <dgm:cxn modelId="{79F6BEA3-D953-4057-B36D-B0DBD38A8CEF}" type="presParOf" srcId="{F329D9F5-2B53-4297-AE52-60F1BE34F87F}" destId="{0D83D8F9-0416-4C06-823C-3FBB7DE5C568}" srcOrd="1" destOrd="0" presId="urn:microsoft.com/office/officeart/2005/8/layout/vList2"/>
    <dgm:cxn modelId="{4719515A-604B-4C90-B10F-D1A21186FB84}" type="presParOf" srcId="{F329D9F5-2B53-4297-AE52-60F1BE34F87F}" destId="{147835DF-2C56-4C19-83D1-25ECCCF0A262}" srcOrd="2" destOrd="0" presId="urn:microsoft.com/office/officeart/2005/8/layout/vList2"/>
    <dgm:cxn modelId="{F18679DA-8754-4C43-B235-A293697CAD70}" type="presParOf" srcId="{F329D9F5-2B53-4297-AE52-60F1BE34F87F}" destId="{0FB7A219-0617-4F7B-8DF6-017F91686146}"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933017-B2B8-4057-BC11-ADAC1829B0D0}" type="doc">
      <dgm:prSet loTypeId="urn:microsoft.com/office/officeart/2005/8/layout/hierarchy3" loCatId="list" qsTypeId="urn:microsoft.com/office/officeart/2005/8/quickstyle/simple1" qsCatId="simple" csTypeId="urn:microsoft.com/office/officeart/2005/8/colors/colorful4" csCatId="colorful" phldr="1"/>
      <dgm:spPr/>
      <dgm:t>
        <a:bodyPr/>
        <a:lstStyle/>
        <a:p>
          <a:endParaRPr lang="en-US"/>
        </a:p>
      </dgm:t>
    </dgm:pt>
    <dgm:pt modelId="{90EE5C31-096B-4B86-BD59-842FCDB6963E}">
      <dgm:prSet phldrT="[Text]" custT="1"/>
      <dgm:spPr/>
      <dgm:t>
        <a:bodyPr/>
        <a:lstStyle/>
        <a:p>
          <a:r>
            <a:rPr lang="en-US" sz="2900">
              <a:latin typeface="+mj-lt"/>
            </a:rPr>
            <a:t>Federal</a:t>
          </a:r>
        </a:p>
      </dgm:t>
    </dgm:pt>
    <dgm:pt modelId="{7BF5520B-2EDC-4ADB-9F8A-01883BDC8341}" type="parTrans" cxnId="{F4028957-DF0C-4D52-8447-C18352DF5A8F}">
      <dgm:prSet/>
      <dgm:spPr/>
      <dgm:t>
        <a:bodyPr/>
        <a:lstStyle/>
        <a:p>
          <a:endParaRPr lang="en-US"/>
        </a:p>
      </dgm:t>
    </dgm:pt>
    <dgm:pt modelId="{D7B69F65-48CE-4C62-8BC0-C15B6D0760FD}" type="sibTrans" cxnId="{F4028957-DF0C-4D52-8447-C18352DF5A8F}">
      <dgm:prSet/>
      <dgm:spPr/>
      <dgm:t>
        <a:bodyPr/>
        <a:lstStyle/>
        <a:p>
          <a:endParaRPr lang="en-US"/>
        </a:p>
      </dgm:t>
    </dgm:pt>
    <dgm:pt modelId="{12A0940C-1483-486F-A21E-43C90258DD2F}">
      <dgm:prSet phldrT="[Text]" custT="1"/>
      <dgm:spPr/>
      <dgm:t>
        <a:bodyPr/>
        <a:lstStyle/>
        <a:p>
          <a:r>
            <a:rPr lang="en-US" sz="2900">
              <a:latin typeface="+mj-lt"/>
            </a:rPr>
            <a:t>Colegio/ Universidad</a:t>
          </a:r>
        </a:p>
      </dgm:t>
    </dgm:pt>
    <dgm:pt modelId="{0213DA5C-473D-4A4A-8D9E-36118C5E7E00}" type="parTrans" cxnId="{FF4CC7A3-B32D-4625-8C3D-82CF15C4B591}">
      <dgm:prSet/>
      <dgm:spPr/>
      <dgm:t>
        <a:bodyPr/>
        <a:lstStyle/>
        <a:p>
          <a:endParaRPr lang="en-US"/>
        </a:p>
      </dgm:t>
    </dgm:pt>
    <dgm:pt modelId="{AD4D4A37-FF48-4BB8-A5C7-781CD8F01334}" type="sibTrans" cxnId="{FF4CC7A3-B32D-4625-8C3D-82CF15C4B591}">
      <dgm:prSet/>
      <dgm:spPr/>
      <dgm:t>
        <a:bodyPr/>
        <a:lstStyle/>
        <a:p>
          <a:endParaRPr lang="en-US"/>
        </a:p>
      </dgm:t>
    </dgm:pt>
    <dgm:pt modelId="{16280DF5-1D3F-4B07-8B73-197128146378}">
      <dgm:prSet phldrT="[Text]" custT="1"/>
      <dgm:spPr/>
      <dgm:t>
        <a:bodyPr/>
        <a:lstStyle/>
        <a:p>
          <a:pPr algn="l"/>
          <a:r>
            <a:rPr lang="en-US" sz="2400" err="1">
              <a:latin typeface="+mj-lt"/>
            </a:rPr>
            <a:t>Tipicamente</a:t>
          </a:r>
          <a:r>
            <a:rPr lang="en-US" sz="2400">
              <a:latin typeface="+mj-lt"/>
            </a:rPr>
            <a:t> </a:t>
          </a:r>
          <a:r>
            <a:rPr lang="en-US" sz="2400" err="1">
              <a:latin typeface="+mj-lt"/>
            </a:rPr>
            <a:t>puede</a:t>
          </a:r>
          <a:r>
            <a:rPr lang="en-US" sz="2400">
              <a:latin typeface="+mj-lt"/>
            </a:rPr>
            <a:t> ser </a:t>
          </a:r>
          <a:r>
            <a:rPr lang="en-US" sz="2400" err="1">
              <a:latin typeface="+mj-lt"/>
            </a:rPr>
            <a:t>usada</a:t>
          </a:r>
          <a:r>
            <a:rPr lang="en-US" sz="2400">
              <a:latin typeface="+mj-lt"/>
            </a:rPr>
            <a:t> en la mayoría de </a:t>
          </a:r>
          <a:r>
            <a:rPr lang="en-US" sz="2400" err="1">
              <a:latin typeface="+mj-lt"/>
            </a:rPr>
            <a:t>escuelas</a:t>
          </a:r>
          <a:r>
            <a:rPr lang="en-US" sz="2400">
              <a:latin typeface="+mj-lt"/>
            </a:rPr>
            <a:t> y en la mayoría de </a:t>
          </a:r>
          <a:r>
            <a:rPr lang="en-US" sz="2400" err="1">
              <a:latin typeface="+mj-lt"/>
            </a:rPr>
            <a:t>los</a:t>
          </a:r>
          <a:r>
            <a:rPr lang="en-US" sz="2400">
              <a:latin typeface="+mj-lt"/>
            </a:rPr>
            <a:t> </a:t>
          </a:r>
          <a:r>
            <a:rPr lang="en-US" sz="2400" err="1">
              <a:latin typeface="+mj-lt"/>
            </a:rPr>
            <a:t>estados</a:t>
          </a:r>
          <a:r>
            <a:rPr lang="en-US" sz="2400">
              <a:latin typeface="+mj-lt"/>
            </a:rPr>
            <a:t>. </a:t>
          </a:r>
        </a:p>
      </dgm:t>
    </dgm:pt>
    <dgm:pt modelId="{576224BD-CF37-4140-8626-857231C94CE4}" type="parTrans" cxnId="{5197F252-4AF4-4195-92E6-A30A4B5ED413}">
      <dgm:prSet/>
      <dgm:spPr/>
      <dgm:t>
        <a:bodyPr/>
        <a:lstStyle/>
        <a:p>
          <a:endParaRPr lang="en-US">
            <a:latin typeface="+mj-lt"/>
          </a:endParaRPr>
        </a:p>
      </dgm:t>
    </dgm:pt>
    <dgm:pt modelId="{28F593D3-F45B-4D85-8307-2F9B9FDDBFA6}" type="sibTrans" cxnId="{5197F252-4AF4-4195-92E6-A30A4B5ED413}">
      <dgm:prSet/>
      <dgm:spPr/>
      <dgm:t>
        <a:bodyPr/>
        <a:lstStyle/>
        <a:p>
          <a:endParaRPr lang="en-US"/>
        </a:p>
      </dgm:t>
    </dgm:pt>
    <dgm:pt modelId="{BB51FF6F-350F-4C51-8DFE-176F415863CB}">
      <dgm:prSet phldrT="[Text]" custT="1"/>
      <dgm:spPr/>
      <dgm:t>
        <a:bodyPr/>
        <a:lstStyle/>
        <a:p>
          <a:pPr algn="l"/>
          <a:r>
            <a:rPr lang="en-US" sz="2400" err="1">
              <a:latin typeface="+mj-lt"/>
            </a:rPr>
            <a:t>Tipicamente</a:t>
          </a:r>
          <a:r>
            <a:rPr lang="en-US" sz="2400">
              <a:latin typeface="+mj-lt"/>
            </a:rPr>
            <a:t> para </a:t>
          </a:r>
          <a:r>
            <a:rPr lang="en-US" sz="2400" err="1">
              <a:latin typeface="+mj-lt"/>
            </a:rPr>
            <a:t>residentes</a:t>
          </a:r>
          <a:r>
            <a:rPr lang="en-US" sz="2400">
              <a:latin typeface="+mj-lt"/>
            </a:rPr>
            <a:t> para que </a:t>
          </a:r>
          <a:r>
            <a:rPr lang="en-US" sz="2400" err="1">
              <a:latin typeface="+mj-lt"/>
            </a:rPr>
            <a:t>puedan</a:t>
          </a:r>
          <a:r>
            <a:rPr lang="en-US" sz="2400">
              <a:latin typeface="+mj-lt"/>
            </a:rPr>
            <a:t> </a:t>
          </a:r>
          <a:r>
            <a:rPr lang="en-US" sz="2400" err="1">
              <a:latin typeface="+mj-lt"/>
            </a:rPr>
            <a:t>asistir</a:t>
          </a:r>
          <a:r>
            <a:rPr lang="en-US" sz="2400">
              <a:latin typeface="+mj-lt"/>
            </a:rPr>
            <a:t> a colegios en el </a:t>
          </a:r>
          <a:r>
            <a:rPr lang="en-US" sz="2400" err="1">
              <a:latin typeface="+mj-lt"/>
            </a:rPr>
            <a:t>estado</a:t>
          </a:r>
          <a:r>
            <a:rPr lang="en-US" sz="2400">
              <a:latin typeface="+mj-lt"/>
            </a:rPr>
            <a:t>. </a:t>
          </a:r>
          <a:endParaRPr lang="en-US" sz="1800">
            <a:latin typeface="+mj-lt"/>
          </a:endParaRPr>
        </a:p>
      </dgm:t>
    </dgm:pt>
    <dgm:pt modelId="{22BAF00A-6FE3-449C-A1CB-FC635858005D}" type="parTrans" cxnId="{664E889E-F6A8-4BB2-916A-5B3DB469A9F2}">
      <dgm:prSet/>
      <dgm:spPr/>
      <dgm:t>
        <a:bodyPr/>
        <a:lstStyle/>
        <a:p>
          <a:endParaRPr lang="en-US">
            <a:latin typeface="+mj-lt"/>
          </a:endParaRPr>
        </a:p>
      </dgm:t>
    </dgm:pt>
    <dgm:pt modelId="{FCCC54A1-5463-445B-B008-2596E241DC37}" type="sibTrans" cxnId="{664E889E-F6A8-4BB2-916A-5B3DB469A9F2}">
      <dgm:prSet/>
      <dgm:spPr/>
      <dgm:t>
        <a:bodyPr/>
        <a:lstStyle/>
        <a:p>
          <a:endParaRPr lang="en-US"/>
        </a:p>
      </dgm:t>
    </dgm:pt>
    <dgm:pt modelId="{D3923592-2EDB-4935-9F59-81EF8E83FCBF}">
      <dgm:prSet phldrT="[Text]" custT="1"/>
      <dgm:spPr/>
      <dgm:t>
        <a:bodyPr/>
        <a:lstStyle/>
        <a:p>
          <a:pPr algn="l"/>
          <a:r>
            <a:rPr lang="en-US" sz="2400" err="1">
              <a:latin typeface="+mj-lt"/>
            </a:rPr>
            <a:t>Ofrecida</a:t>
          </a:r>
          <a:r>
            <a:rPr lang="en-US" sz="2400">
              <a:latin typeface="+mj-lt"/>
            </a:rPr>
            <a:t> </a:t>
          </a:r>
          <a:r>
            <a:rPr lang="en-US" sz="2400" err="1">
              <a:latin typeface="+mj-lt"/>
            </a:rPr>
            <a:t>por</a:t>
          </a:r>
          <a:r>
            <a:rPr lang="en-US" sz="2400">
              <a:latin typeface="+mj-lt"/>
            </a:rPr>
            <a:t> un colegio </a:t>
          </a:r>
          <a:r>
            <a:rPr lang="en-US" sz="2400" err="1">
              <a:latin typeface="+mj-lt"/>
            </a:rPr>
            <a:t>específico</a:t>
          </a:r>
          <a:r>
            <a:rPr lang="en-US" sz="2400">
              <a:latin typeface="+mj-lt"/>
            </a:rPr>
            <a:t> para que </a:t>
          </a:r>
          <a:r>
            <a:rPr lang="en-US" sz="2400" err="1">
              <a:latin typeface="+mj-lt"/>
            </a:rPr>
            <a:t>atiendas</a:t>
          </a:r>
          <a:r>
            <a:rPr lang="en-US" sz="2400">
              <a:latin typeface="+mj-lt"/>
            </a:rPr>
            <a:t> ese colegio</a:t>
          </a:r>
        </a:p>
      </dgm:t>
    </dgm:pt>
    <dgm:pt modelId="{84E33378-229F-4E9F-A813-2BD79F769036}" type="parTrans" cxnId="{28E17EE9-E31D-4EA3-AAA4-4E23A6FCFB24}">
      <dgm:prSet/>
      <dgm:spPr/>
      <dgm:t>
        <a:bodyPr/>
        <a:lstStyle/>
        <a:p>
          <a:endParaRPr lang="en-US">
            <a:latin typeface="+mj-lt"/>
          </a:endParaRPr>
        </a:p>
      </dgm:t>
    </dgm:pt>
    <dgm:pt modelId="{68602D0D-1747-42DF-B170-CCD7F41A347A}" type="sibTrans" cxnId="{28E17EE9-E31D-4EA3-AAA4-4E23A6FCFB24}">
      <dgm:prSet/>
      <dgm:spPr/>
      <dgm:t>
        <a:bodyPr/>
        <a:lstStyle/>
        <a:p>
          <a:endParaRPr lang="en-US"/>
        </a:p>
      </dgm:t>
    </dgm:pt>
    <dgm:pt modelId="{70EE069F-140B-49F1-A712-FFA1CBA71EA4}">
      <dgm:prSet phldrT="[Text]" custT="1"/>
      <dgm:spPr/>
      <dgm:t>
        <a:bodyPr/>
        <a:lstStyle/>
        <a:p>
          <a:pPr algn="ctr"/>
          <a:r>
            <a:rPr lang="en-US" sz="2900" err="1">
              <a:latin typeface="+mj-lt"/>
            </a:rPr>
            <a:t>Estatal</a:t>
          </a:r>
          <a:endParaRPr lang="en-US" sz="2900">
            <a:latin typeface="+mj-lt"/>
          </a:endParaRPr>
        </a:p>
      </dgm:t>
    </dgm:pt>
    <dgm:pt modelId="{C442B7AB-A72F-42C3-AEE6-CB9DED1FFF53}" type="parTrans" cxnId="{4FDF9FCD-9049-4F51-A210-A6916AE40963}">
      <dgm:prSet/>
      <dgm:spPr/>
      <dgm:t>
        <a:bodyPr/>
        <a:lstStyle/>
        <a:p>
          <a:endParaRPr lang="en-US"/>
        </a:p>
      </dgm:t>
    </dgm:pt>
    <dgm:pt modelId="{247C1B61-9AEB-4E1F-B15F-2275E440B18E}" type="sibTrans" cxnId="{4FDF9FCD-9049-4F51-A210-A6916AE40963}">
      <dgm:prSet/>
      <dgm:spPr/>
      <dgm:t>
        <a:bodyPr/>
        <a:lstStyle/>
        <a:p>
          <a:endParaRPr lang="en-US"/>
        </a:p>
      </dgm:t>
    </dgm:pt>
    <dgm:pt modelId="{C10A15EB-1BCB-4C71-A895-5CF1440C9A35}">
      <dgm:prSet phldrT="[Text]" custT="1"/>
      <dgm:spPr/>
      <dgm:t>
        <a:bodyPr/>
        <a:lstStyle/>
        <a:p>
          <a:pPr algn="ctr"/>
          <a:r>
            <a:rPr lang="en-US" sz="2900" err="1">
              <a:latin typeface="+mj-lt"/>
            </a:rPr>
            <a:t>Organizaciones</a:t>
          </a:r>
          <a:endParaRPr lang="en-US" sz="2900">
            <a:latin typeface="+mj-lt"/>
          </a:endParaRPr>
        </a:p>
      </dgm:t>
    </dgm:pt>
    <dgm:pt modelId="{E3FF874E-FB09-4E38-9773-9CDBD940AC20}" type="parTrans" cxnId="{8BA629F2-461E-4BD8-8CF5-562A6D364762}">
      <dgm:prSet/>
      <dgm:spPr/>
      <dgm:t>
        <a:bodyPr/>
        <a:lstStyle/>
        <a:p>
          <a:endParaRPr lang="en-US"/>
        </a:p>
      </dgm:t>
    </dgm:pt>
    <dgm:pt modelId="{36DF2E86-FBA6-4271-B1A5-8B387AB81DA0}" type="sibTrans" cxnId="{8BA629F2-461E-4BD8-8CF5-562A6D364762}">
      <dgm:prSet/>
      <dgm:spPr/>
      <dgm:t>
        <a:bodyPr/>
        <a:lstStyle/>
        <a:p>
          <a:endParaRPr lang="en-US"/>
        </a:p>
      </dgm:t>
    </dgm:pt>
    <dgm:pt modelId="{215823CF-CDC0-4078-BF0B-91561DBED54A}">
      <dgm:prSet phldrT="[Text]" custT="1"/>
      <dgm:spPr/>
      <dgm:t>
        <a:bodyPr/>
        <a:lstStyle/>
        <a:p>
          <a:pPr algn="l"/>
          <a:r>
            <a:rPr lang="en-US" sz="2400" err="1">
              <a:latin typeface="+mj-lt"/>
            </a:rPr>
            <a:t>Ofecida</a:t>
          </a:r>
          <a:r>
            <a:rPr lang="en-US" sz="2400">
              <a:latin typeface="+mj-lt"/>
            </a:rPr>
            <a:t> </a:t>
          </a:r>
          <a:r>
            <a:rPr lang="en-US" sz="2400" err="1">
              <a:latin typeface="+mj-lt"/>
            </a:rPr>
            <a:t>por</a:t>
          </a:r>
          <a:r>
            <a:rPr lang="en-US" sz="2400">
              <a:latin typeface="+mj-lt"/>
            </a:rPr>
            <a:t> </a:t>
          </a:r>
          <a:r>
            <a:rPr lang="en-US" sz="2400" err="1">
              <a:latin typeface="+mj-lt"/>
            </a:rPr>
            <a:t>organizaciones</a:t>
          </a:r>
          <a:r>
            <a:rPr lang="en-US" sz="2400">
              <a:latin typeface="+mj-lt"/>
            </a:rPr>
            <a:t> sin fines de </a:t>
          </a:r>
          <a:r>
            <a:rPr lang="en-US" sz="2400" err="1">
              <a:latin typeface="+mj-lt"/>
            </a:rPr>
            <a:t>lucro</a:t>
          </a:r>
          <a:r>
            <a:rPr lang="en-US" sz="2400">
              <a:latin typeface="+mj-lt"/>
            </a:rPr>
            <a:t>, </a:t>
          </a:r>
          <a:r>
            <a:rPr lang="en-US" sz="2400" err="1">
              <a:latin typeface="+mj-lt"/>
            </a:rPr>
            <a:t>negocios</a:t>
          </a:r>
          <a:r>
            <a:rPr lang="en-US" sz="2400">
              <a:latin typeface="+mj-lt"/>
            </a:rPr>
            <a:t>, Iglesias, </a:t>
          </a:r>
          <a:r>
            <a:rPr lang="en-US" sz="2400" err="1">
              <a:latin typeface="+mj-lt"/>
            </a:rPr>
            <a:t>ect</a:t>
          </a:r>
          <a:r>
            <a:rPr lang="en-US" sz="2400">
              <a:latin typeface="+mj-lt"/>
            </a:rPr>
            <a:t>. </a:t>
          </a:r>
        </a:p>
      </dgm:t>
    </dgm:pt>
    <dgm:pt modelId="{70E38E19-E291-4B83-8C48-14C40C9851E1}" type="parTrans" cxnId="{D33B42CB-5F42-464A-9665-6E3C1E61C0E4}">
      <dgm:prSet/>
      <dgm:spPr/>
      <dgm:t>
        <a:bodyPr/>
        <a:lstStyle/>
        <a:p>
          <a:endParaRPr lang="en-US"/>
        </a:p>
      </dgm:t>
    </dgm:pt>
    <dgm:pt modelId="{2CBCE805-6C9A-4047-9B53-0E69C5297884}" type="sibTrans" cxnId="{D33B42CB-5F42-464A-9665-6E3C1E61C0E4}">
      <dgm:prSet/>
      <dgm:spPr/>
      <dgm:t>
        <a:bodyPr/>
        <a:lstStyle/>
        <a:p>
          <a:endParaRPr lang="en-US"/>
        </a:p>
      </dgm:t>
    </dgm:pt>
    <dgm:pt modelId="{A7C13485-932B-433A-8547-6B08E417A4C2}" type="pres">
      <dgm:prSet presAssocID="{FA933017-B2B8-4057-BC11-ADAC1829B0D0}" presName="diagram" presStyleCnt="0">
        <dgm:presLayoutVars>
          <dgm:chPref val="1"/>
          <dgm:dir/>
          <dgm:animOne val="branch"/>
          <dgm:animLvl val="lvl"/>
          <dgm:resizeHandles/>
        </dgm:presLayoutVars>
      </dgm:prSet>
      <dgm:spPr/>
    </dgm:pt>
    <dgm:pt modelId="{D6606139-E690-4751-9C3E-DDEBC640C7FB}" type="pres">
      <dgm:prSet presAssocID="{90EE5C31-096B-4B86-BD59-842FCDB6963E}" presName="root" presStyleCnt="0"/>
      <dgm:spPr/>
    </dgm:pt>
    <dgm:pt modelId="{C2407BB2-B554-4BF3-A4C0-8507AED4E6AF}" type="pres">
      <dgm:prSet presAssocID="{90EE5C31-096B-4B86-BD59-842FCDB6963E}" presName="rootComposite" presStyleCnt="0"/>
      <dgm:spPr/>
    </dgm:pt>
    <dgm:pt modelId="{F1710AE1-69D9-42C2-9773-05B1C35383B0}" type="pres">
      <dgm:prSet presAssocID="{90EE5C31-096B-4B86-BD59-842FCDB6963E}" presName="rootText" presStyleLbl="node1" presStyleIdx="0" presStyleCnt="4" custScaleX="126514"/>
      <dgm:spPr/>
    </dgm:pt>
    <dgm:pt modelId="{24E3BD91-DF1E-4C38-BF69-CB6774105DB0}" type="pres">
      <dgm:prSet presAssocID="{90EE5C31-096B-4B86-BD59-842FCDB6963E}" presName="rootConnector" presStyleLbl="node1" presStyleIdx="0" presStyleCnt="4"/>
      <dgm:spPr/>
    </dgm:pt>
    <dgm:pt modelId="{19AECE6D-B67C-4F5E-BAB9-B96F85D66CE1}" type="pres">
      <dgm:prSet presAssocID="{90EE5C31-096B-4B86-BD59-842FCDB6963E}" presName="childShape" presStyleCnt="0"/>
      <dgm:spPr/>
    </dgm:pt>
    <dgm:pt modelId="{7F2C5509-B3AB-4E34-9F41-E3D68B8AFF02}" type="pres">
      <dgm:prSet presAssocID="{576224BD-CF37-4140-8626-857231C94CE4}" presName="Name13" presStyleLbl="parChTrans1D2" presStyleIdx="0" presStyleCnt="4"/>
      <dgm:spPr/>
    </dgm:pt>
    <dgm:pt modelId="{C3E682CF-BBF2-40DE-ABA7-000F35119828}" type="pres">
      <dgm:prSet presAssocID="{16280DF5-1D3F-4B07-8B73-197128146378}" presName="childText" presStyleLbl="bgAcc1" presStyleIdx="0" presStyleCnt="4" custScaleX="167287" custScaleY="216681" custLinFactNeighborX="-4348" custLinFactNeighborY="-5650">
        <dgm:presLayoutVars>
          <dgm:bulletEnabled val="1"/>
        </dgm:presLayoutVars>
      </dgm:prSet>
      <dgm:spPr/>
    </dgm:pt>
    <dgm:pt modelId="{F43AA857-08AD-400E-9357-C60CCB627D0C}" type="pres">
      <dgm:prSet presAssocID="{70EE069F-140B-49F1-A712-FFA1CBA71EA4}" presName="root" presStyleCnt="0"/>
      <dgm:spPr/>
    </dgm:pt>
    <dgm:pt modelId="{2DBF4348-F048-4764-B517-7482F0FCC0D9}" type="pres">
      <dgm:prSet presAssocID="{70EE069F-140B-49F1-A712-FFA1CBA71EA4}" presName="rootComposite" presStyleCnt="0"/>
      <dgm:spPr/>
    </dgm:pt>
    <dgm:pt modelId="{FB26632D-C6D5-4689-BDF7-78872D25E1BB}" type="pres">
      <dgm:prSet presAssocID="{70EE069F-140B-49F1-A712-FFA1CBA71EA4}" presName="rootText" presStyleLbl="node1" presStyleIdx="1" presStyleCnt="4"/>
      <dgm:spPr/>
    </dgm:pt>
    <dgm:pt modelId="{F2DE421D-66FC-41AA-8DFA-C4F43E8AB815}" type="pres">
      <dgm:prSet presAssocID="{70EE069F-140B-49F1-A712-FFA1CBA71EA4}" presName="rootConnector" presStyleLbl="node1" presStyleIdx="1" presStyleCnt="4"/>
      <dgm:spPr/>
    </dgm:pt>
    <dgm:pt modelId="{FC6B2CD2-DF8C-4AAF-AE8D-821AB89F6D41}" type="pres">
      <dgm:prSet presAssocID="{70EE069F-140B-49F1-A712-FFA1CBA71EA4}" presName="childShape" presStyleCnt="0"/>
      <dgm:spPr/>
    </dgm:pt>
    <dgm:pt modelId="{2D097F2B-375E-40A1-8B33-1B82DCAB28B0}" type="pres">
      <dgm:prSet presAssocID="{22BAF00A-6FE3-449C-A1CB-FC635858005D}" presName="Name13" presStyleLbl="parChTrans1D2" presStyleIdx="1" presStyleCnt="4"/>
      <dgm:spPr/>
    </dgm:pt>
    <dgm:pt modelId="{3717083A-1FA0-4CC1-95B8-D78B54CEB2C9}" type="pres">
      <dgm:prSet presAssocID="{BB51FF6F-350F-4C51-8DFE-176F415863CB}" presName="childText" presStyleLbl="bgAcc1" presStyleIdx="1" presStyleCnt="4" custScaleX="152087" custScaleY="213788">
        <dgm:presLayoutVars>
          <dgm:bulletEnabled val="1"/>
        </dgm:presLayoutVars>
      </dgm:prSet>
      <dgm:spPr/>
    </dgm:pt>
    <dgm:pt modelId="{E7EF0EBB-5C96-4AF5-8563-D319BCBFBA0C}" type="pres">
      <dgm:prSet presAssocID="{12A0940C-1483-486F-A21E-43C90258DD2F}" presName="root" presStyleCnt="0"/>
      <dgm:spPr/>
    </dgm:pt>
    <dgm:pt modelId="{59134D36-10F1-4A87-9A74-63621E86961E}" type="pres">
      <dgm:prSet presAssocID="{12A0940C-1483-486F-A21E-43C90258DD2F}" presName="rootComposite" presStyleCnt="0"/>
      <dgm:spPr/>
    </dgm:pt>
    <dgm:pt modelId="{23313EEC-3C0E-4986-8BF5-3ED6E774324B}" type="pres">
      <dgm:prSet presAssocID="{12A0940C-1483-486F-A21E-43C90258DD2F}" presName="rootText" presStyleLbl="node1" presStyleIdx="2" presStyleCnt="4" custScaleX="126514" custLinFactNeighborX="-10" custLinFactNeighborY="-1522"/>
      <dgm:spPr/>
    </dgm:pt>
    <dgm:pt modelId="{33AEA63A-88B5-4D56-B985-A49D569303B9}" type="pres">
      <dgm:prSet presAssocID="{12A0940C-1483-486F-A21E-43C90258DD2F}" presName="rootConnector" presStyleLbl="node1" presStyleIdx="2" presStyleCnt="4"/>
      <dgm:spPr/>
    </dgm:pt>
    <dgm:pt modelId="{7BFD86A1-22D8-4C7A-9EF3-398EBE9E1BEB}" type="pres">
      <dgm:prSet presAssocID="{12A0940C-1483-486F-A21E-43C90258DD2F}" presName="childShape" presStyleCnt="0"/>
      <dgm:spPr/>
    </dgm:pt>
    <dgm:pt modelId="{16526CF6-477B-4541-B13B-3DAF1D17912F}" type="pres">
      <dgm:prSet presAssocID="{84E33378-229F-4E9F-A813-2BD79F769036}" presName="Name13" presStyleLbl="parChTrans1D2" presStyleIdx="2" presStyleCnt="4"/>
      <dgm:spPr/>
    </dgm:pt>
    <dgm:pt modelId="{8619FF26-7A0B-4F20-B855-5BC1489202DD}" type="pres">
      <dgm:prSet presAssocID="{D3923592-2EDB-4935-9F59-81EF8E83FCBF}" presName="childText" presStyleLbl="bgAcc1" presStyleIdx="2" presStyleCnt="4" custScaleX="159485" custScaleY="219099" custLinFactNeighborY="-3045">
        <dgm:presLayoutVars>
          <dgm:bulletEnabled val="1"/>
        </dgm:presLayoutVars>
      </dgm:prSet>
      <dgm:spPr/>
    </dgm:pt>
    <dgm:pt modelId="{6FAD9F48-4C53-4CC8-A607-287715839542}" type="pres">
      <dgm:prSet presAssocID="{C10A15EB-1BCB-4C71-A895-5CF1440C9A35}" presName="root" presStyleCnt="0"/>
      <dgm:spPr/>
    </dgm:pt>
    <dgm:pt modelId="{15F20CBF-193A-461F-B909-C2E735E4B3DD}" type="pres">
      <dgm:prSet presAssocID="{C10A15EB-1BCB-4C71-A895-5CF1440C9A35}" presName="rootComposite" presStyleCnt="0"/>
      <dgm:spPr/>
    </dgm:pt>
    <dgm:pt modelId="{45954B7A-01FB-4B1B-A59A-5408199FD8DD}" type="pres">
      <dgm:prSet presAssocID="{C10A15EB-1BCB-4C71-A895-5CF1440C9A35}" presName="rootText" presStyleLbl="node1" presStyleIdx="3" presStyleCnt="4" custScaleX="139307"/>
      <dgm:spPr/>
    </dgm:pt>
    <dgm:pt modelId="{7AB8687D-AF7A-4298-8FD4-08E96594F019}" type="pres">
      <dgm:prSet presAssocID="{C10A15EB-1BCB-4C71-A895-5CF1440C9A35}" presName="rootConnector" presStyleLbl="node1" presStyleIdx="3" presStyleCnt="4"/>
      <dgm:spPr/>
    </dgm:pt>
    <dgm:pt modelId="{13FD9059-3420-47DD-88DE-C980FD52E382}" type="pres">
      <dgm:prSet presAssocID="{C10A15EB-1BCB-4C71-A895-5CF1440C9A35}" presName="childShape" presStyleCnt="0"/>
      <dgm:spPr/>
    </dgm:pt>
    <dgm:pt modelId="{97CF61D8-1652-456F-88AE-81DB2188D539}" type="pres">
      <dgm:prSet presAssocID="{70E38E19-E291-4B83-8C48-14C40C9851E1}" presName="Name13" presStyleLbl="parChTrans1D2" presStyleIdx="3" presStyleCnt="4"/>
      <dgm:spPr/>
    </dgm:pt>
    <dgm:pt modelId="{9C76E590-772B-435C-AFBA-ED2235312C32}" type="pres">
      <dgm:prSet presAssocID="{215823CF-CDC0-4078-BF0B-91561DBED54A}" presName="childText" presStyleLbl="bgAcc1" presStyleIdx="3" presStyleCnt="4" custScaleX="158872" custScaleY="219816" custLinFactNeighborX="-739" custLinFactNeighborY="-4911">
        <dgm:presLayoutVars>
          <dgm:bulletEnabled val="1"/>
        </dgm:presLayoutVars>
      </dgm:prSet>
      <dgm:spPr/>
    </dgm:pt>
  </dgm:ptLst>
  <dgm:cxnLst>
    <dgm:cxn modelId="{C928030E-E376-4295-8C5B-3E2F58AAAAF8}" type="presOf" srcId="{C10A15EB-1BCB-4C71-A895-5CF1440C9A35}" destId="{7AB8687D-AF7A-4298-8FD4-08E96594F019}" srcOrd="1" destOrd="0" presId="urn:microsoft.com/office/officeart/2005/8/layout/hierarchy3"/>
    <dgm:cxn modelId="{1574072A-0A38-488B-9841-D5F000DBA8A5}" type="presOf" srcId="{12A0940C-1483-486F-A21E-43C90258DD2F}" destId="{23313EEC-3C0E-4986-8BF5-3ED6E774324B}" srcOrd="0" destOrd="0" presId="urn:microsoft.com/office/officeart/2005/8/layout/hierarchy3"/>
    <dgm:cxn modelId="{FF9D3D5F-DD7D-4122-905D-5980A6C23450}" type="presOf" srcId="{90EE5C31-096B-4B86-BD59-842FCDB6963E}" destId="{24E3BD91-DF1E-4C38-BF69-CB6774105DB0}" srcOrd="1" destOrd="0" presId="urn:microsoft.com/office/officeart/2005/8/layout/hierarchy3"/>
    <dgm:cxn modelId="{B82CF862-0618-481B-AA32-FAE0670C09AB}" type="presOf" srcId="{C10A15EB-1BCB-4C71-A895-5CF1440C9A35}" destId="{45954B7A-01FB-4B1B-A59A-5408199FD8DD}" srcOrd="0" destOrd="0" presId="urn:microsoft.com/office/officeart/2005/8/layout/hierarchy3"/>
    <dgm:cxn modelId="{85522467-B3BD-4FFC-8C43-FF8B497000FD}" type="presOf" srcId="{22BAF00A-6FE3-449C-A1CB-FC635858005D}" destId="{2D097F2B-375E-40A1-8B33-1B82DCAB28B0}" srcOrd="0" destOrd="0" presId="urn:microsoft.com/office/officeart/2005/8/layout/hierarchy3"/>
    <dgm:cxn modelId="{5197F252-4AF4-4195-92E6-A30A4B5ED413}" srcId="{90EE5C31-096B-4B86-BD59-842FCDB6963E}" destId="{16280DF5-1D3F-4B07-8B73-197128146378}" srcOrd="0" destOrd="0" parTransId="{576224BD-CF37-4140-8626-857231C94CE4}" sibTransId="{28F593D3-F45B-4D85-8307-2F9B9FDDBFA6}"/>
    <dgm:cxn modelId="{F4028957-DF0C-4D52-8447-C18352DF5A8F}" srcId="{FA933017-B2B8-4057-BC11-ADAC1829B0D0}" destId="{90EE5C31-096B-4B86-BD59-842FCDB6963E}" srcOrd="0" destOrd="0" parTransId="{7BF5520B-2EDC-4ADB-9F8A-01883BDC8341}" sibTransId="{D7B69F65-48CE-4C62-8BC0-C15B6D0760FD}"/>
    <dgm:cxn modelId="{C4AFF97D-FF21-46D4-95C7-56551B5A808E}" type="presOf" srcId="{90EE5C31-096B-4B86-BD59-842FCDB6963E}" destId="{F1710AE1-69D9-42C2-9773-05B1C35383B0}" srcOrd="0" destOrd="0" presId="urn:microsoft.com/office/officeart/2005/8/layout/hierarchy3"/>
    <dgm:cxn modelId="{43D25C7F-CB6E-47AC-B1EF-312D75C0A57C}" type="presOf" srcId="{576224BD-CF37-4140-8626-857231C94CE4}" destId="{7F2C5509-B3AB-4E34-9F41-E3D68B8AFF02}" srcOrd="0" destOrd="0" presId="urn:microsoft.com/office/officeart/2005/8/layout/hierarchy3"/>
    <dgm:cxn modelId="{E56C2391-B52D-4EB4-BB8C-02CD3CB3B00A}" type="presOf" srcId="{D3923592-2EDB-4935-9F59-81EF8E83FCBF}" destId="{8619FF26-7A0B-4F20-B855-5BC1489202DD}" srcOrd="0" destOrd="0" presId="urn:microsoft.com/office/officeart/2005/8/layout/hierarchy3"/>
    <dgm:cxn modelId="{664E889E-F6A8-4BB2-916A-5B3DB469A9F2}" srcId="{70EE069F-140B-49F1-A712-FFA1CBA71EA4}" destId="{BB51FF6F-350F-4C51-8DFE-176F415863CB}" srcOrd="0" destOrd="0" parTransId="{22BAF00A-6FE3-449C-A1CB-FC635858005D}" sibTransId="{FCCC54A1-5463-445B-B008-2596E241DC37}"/>
    <dgm:cxn modelId="{FF4CC7A3-B32D-4625-8C3D-82CF15C4B591}" srcId="{FA933017-B2B8-4057-BC11-ADAC1829B0D0}" destId="{12A0940C-1483-486F-A21E-43C90258DD2F}" srcOrd="2" destOrd="0" parTransId="{0213DA5C-473D-4A4A-8D9E-36118C5E7E00}" sibTransId="{AD4D4A37-FF48-4BB8-A5C7-781CD8F01334}"/>
    <dgm:cxn modelId="{2FC8E2B8-098C-4C2A-8ECC-1BE3875F9D2C}" type="presOf" srcId="{12A0940C-1483-486F-A21E-43C90258DD2F}" destId="{33AEA63A-88B5-4D56-B985-A49D569303B9}" srcOrd="1" destOrd="0" presId="urn:microsoft.com/office/officeart/2005/8/layout/hierarchy3"/>
    <dgm:cxn modelId="{7F9E9BBD-5ACA-4F14-AF08-FE07F63081F4}" type="presOf" srcId="{70EE069F-140B-49F1-A712-FFA1CBA71EA4}" destId="{FB26632D-C6D5-4689-BDF7-78872D25E1BB}" srcOrd="0" destOrd="0" presId="urn:microsoft.com/office/officeart/2005/8/layout/hierarchy3"/>
    <dgm:cxn modelId="{99A5ACC6-D6F9-4B06-9938-3DE18C844494}" type="presOf" srcId="{16280DF5-1D3F-4B07-8B73-197128146378}" destId="{C3E682CF-BBF2-40DE-ABA7-000F35119828}" srcOrd="0" destOrd="0" presId="urn:microsoft.com/office/officeart/2005/8/layout/hierarchy3"/>
    <dgm:cxn modelId="{481FA5CA-F28A-4A0E-BBE2-41D9A790421A}" type="presOf" srcId="{70E38E19-E291-4B83-8C48-14C40C9851E1}" destId="{97CF61D8-1652-456F-88AE-81DB2188D539}" srcOrd="0" destOrd="0" presId="urn:microsoft.com/office/officeart/2005/8/layout/hierarchy3"/>
    <dgm:cxn modelId="{D33B42CB-5F42-464A-9665-6E3C1E61C0E4}" srcId="{C10A15EB-1BCB-4C71-A895-5CF1440C9A35}" destId="{215823CF-CDC0-4078-BF0B-91561DBED54A}" srcOrd="0" destOrd="0" parTransId="{70E38E19-E291-4B83-8C48-14C40C9851E1}" sibTransId="{2CBCE805-6C9A-4047-9B53-0E69C5297884}"/>
    <dgm:cxn modelId="{4FDF9FCD-9049-4F51-A210-A6916AE40963}" srcId="{FA933017-B2B8-4057-BC11-ADAC1829B0D0}" destId="{70EE069F-140B-49F1-A712-FFA1CBA71EA4}" srcOrd="1" destOrd="0" parTransId="{C442B7AB-A72F-42C3-AEE6-CB9DED1FFF53}" sibTransId="{247C1B61-9AEB-4E1F-B15F-2275E440B18E}"/>
    <dgm:cxn modelId="{A2A897CF-9002-445A-9548-09AD31355009}" type="presOf" srcId="{215823CF-CDC0-4078-BF0B-91561DBED54A}" destId="{9C76E590-772B-435C-AFBA-ED2235312C32}" srcOrd="0" destOrd="0" presId="urn:microsoft.com/office/officeart/2005/8/layout/hierarchy3"/>
    <dgm:cxn modelId="{DC0ABEDB-1786-467C-8AB5-ACAB40C8F037}" type="presOf" srcId="{FA933017-B2B8-4057-BC11-ADAC1829B0D0}" destId="{A7C13485-932B-433A-8547-6B08E417A4C2}" srcOrd="0" destOrd="0" presId="urn:microsoft.com/office/officeart/2005/8/layout/hierarchy3"/>
    <dgm:cxn modelId="{28E17EE9-E31D-4EA3-AAA4-4E23A6FCFB24}" srcId="{12A0940C-1483-486F-A21E-43C90258DD2F}" destId="{D3923592-2EDB-4935-9F59-81EF8E83FCBF}" srcOrd="0" destOrd="0" parTransId="{84E33378-229F-4E9F-A813-2BD79F769036}" sibTransId="{68602D0D-1747-42DF-B170-CCD7F41A347A}"/>
    <dgm:cxn modelId="{E67540EF-9733-4128-AEF0-C79CCE86E454}" type="presOf" srcId="{BB51FF6F-350F-4C51-8DFE-176F415863CB}" destId="{3717083A-1FA0-4CC1-95B8-D78B54CEB2C9}" srcOrd="0" destOrd="0" presId="urn:microsoft.com/office/officeart/2005/8/layout/hierarchy3"/>
    <dgm:cxn modelId="{8BA629F2-461E-4BD8-8CF5-562A6D364762}" srcId="{FA933017-B2B8-4057-BC11-ADAC1829B0D0}" destId="{C10A15EB-1BCB-4C71-A895-5CF1440C9A35}" srcOrd="3" destOrd="0" parTransId="{E3FF874E-FB09-4E38-9773-9CDBD940AC20}" sibTransId="{36DF2E86-FBA6-4271-B1A5-8B387AB81DA0}"/>
    <dgm:cxn modelId="{952DA8F6-FB3E-45D7-AD8F-81DBE458AB36}" type="presOf" srcId="{84E33378-229F-4E9F-A813-2BD79F769036}" destId="{16526CF6-477B-4541-B13B-3DAF1D17912F}" srcOrd="0" destOrd="0" presId="urn:microsoft.com/office/officeart/2005/8/layout/hierarchy3"/>
    <dgm:cxn modelId="{35DFCEF9-9DEC-473A-BC9F-D475CC08F01D}" type="presOf" srcId="{70EE069F-140B-49F1-A712-FFA1CBA71EA4}" destId="{F2DE421D-66FC-41AA-8DFA-C4F43E8AB815}" srcOrd="1" destOrd="0" presId="urn:microsoft.com/office/officeart/2005/8/layout/hierarchy3"/>
    <dgm:cxn modelId="{8AEA5175-7F5F-486C-A1F0-B7A78A1C016B}" type="presParOf" srcId="{A7C13485-932B-433A-8547-6B08E417A4C2}" destId="{D6606139-E690-4751-9C3E-DDEBC640C7FB}" srcOrd="0" destOrd="0" presId="urn:microsoft.com/office/officeart/2005/8/layout/hierarchy3"/>
    <dgm:cxn modelId="{69860862-1D94-4541-A6F8-1772FCB6F9EB}" type="presParOf" srcId="{D6606139-E690-4751-9C3E-DDEBC640C7FB}" destId="{C2407BB2-B554-4BF3-A4C0-8507AED4E6AF}" srcOrd="0" destOrd="0" presId="urn:microsoft.com/office/officeart/2005/8/layout/hierarchy3"/>
    <dgm:cxn modelId="{25F0E2F3-14E8-4A93-902A-EEE744FCA83C}" type="presParOf" srcId="{C2407BB2-B554-4BF3-A4C0-8507AED4E6AF}" destId="{F1710AE1-69D9-42C2-9773-05B1C35383B0}" srcOrd="0" destOrd="0" presId="urn:microsoft.com/office/officeart/2005/8/layout/hierarchy3"/>
    <dgm:cxn modelId="{BF4B059A-C1FB-47E9-B32C-475B6FDD68E2}" type="presParOf" srcId="{C2407BB2-B554-4BF3-A4C0-8507AED4E6AF}" destId="{24E3BD91-DF1E-4C38-BF69-CB6774105DB0}" srcOrd="1" destOrd="0" presId="urn:microsoft.com/office/officeart/2005/8/layout/hierarchy3"/>
    <dgm:cxn modelId="{3DC77CCE-7287-4CAC-8FEE-8C783E094DED}" type="presParOf" srcId="{D6606139-E690-4751-9C3E-DDEBC640C7FB}" destId="{19AECE6D-B67C-4F5E-BAB9-B96F85D66CE1}" srcOrd="1" destOrd="0" presId="urn:microsoft.com/office/officeart/2005/8/layout/hierarchy3"/>
    <dgm:cxn modelId="{53F7D865-F163-4373-B4D3-0198C554DECF}" type="presParOf" srcId="{19AECE6D-B67C-4F5E-BAB9-B96F85D66CE1}" destId="{7F2C5509-B3AB-4E34-9F41-E3D68B8AFF02}" srcOrd="0" destOrd="0" presId="urn:microsoft.com/office/officeart/2005/8/layout/hierarchy3"/>
    <dgm:cxn modelId="{ADF599E9-8AEB-435C-8A44-5A6BBD54ADA7}" type="presParOf" srcId="{19AECE6D-B67C-4F5E-BAB9-B96F85D66CE1}" destId="{C3E682CF-BBF2-40DE-ABA7-000F35119828}" srcOrd="1" destOrd="0" presId="urn:microsoft.com/office/officeart/2005/8/layout/hierarchy3"/>
    <dgm:cxn modelId="{D04D1240-C4E7-4F1B-87C2-0C3ED4B5B422}" type="presParOf" srcId="{A7C13485-932B-433A-8547-6B08E417A4C2}" destId="{F43AA857-08AD-400E-9357-C60CCB627D0C}" srcOrd="1" destOrd="0" presId="urn:microsoft.com/office/officeart/2005/8/layout/hierarchy3"/>
    <dgm:cxn modelId="{D567F8F4-5429-4D33-83E4-B9BB53451467}" type="presParOf" srcId="{F43AA857-08AD-400E-9357-C60CCB627D0C}" destId="{2DBF4348-F048-4764-B517-7482F0FCC0D9}" srcOrd="0" destOrd="0" presId="urn:microsoft.com/office/officeart/2005/8/layout/hierarchy3"/>
    <dgm:cxn modelId="{A813543A-983C-44A8-871E-65111F001EE7}" type="presParOf" srcId="{2DBF4348-F048-4764-B517-7482F0FCC0D9}" destId="{FB26632D-C6D5-4689-BDF7-78872D25E1BB}" srcOrd="0" destOrd="0" presId="urn:microsoft.com/office/officeart/2005/8/layout/hierarchy3"/>
    <dgm:cxn modelId="{591A0DA6-334E-4ECB-9628-7A0574E8F624}" type="presParOf" srcId="{2DBF4348-F048-4764-B517-7482F0FCC0D9}" destId="{F2DE421D-66FC-41AA-8DFA-C4F43E8AB815}" srcOrd="1" destOrd="0" presId="urn:microsoft.com/office/officeart/2005/8/layout/hierarchy3"/>
    <dgm:cxn modelId="{D82DB638-62AF-4473-B341-13125F86CEBC}" type="presParOf" srcId="{F43AA857-08AD-400E-9357-C60CCB627D0C}" destId="{FC6B2CD2-DF8C-4AAF-AE8D-821AB89F6D41}" srcOrd="1" destOrd="0" presId="urn:microsoft.com/office/officeart/2005/8/layout/hierarchy3"/>
    <dgm:cxn modelId="{51323DC1-F589-44BB-92DF-30EB8FDC3024}" type="presParOf" srcId="{FC6B2CD2-DF8C-4AAF-AE8D-821AB89F6D41}" destId="{2D097F2B-375E-40A1-8B33-1B82DCAB28B0}" srcOrd="0" destOrd="0" presId="urn:microsoft.com/office/officeart/2005/8/layout/hierarchy3"/>
    <dgm:cxn modelId="{9B7B61DF-D05F-401E-B51A-374936DCE16E}" type="presParOf" srcId="{FC6B2CD2-DF8C-4AAF-AE8D-821AB89F6D41}" destId="{3717083A-1FA0-4CC1-95B8-D78B54CEB2C9}" srcOrd="1" destOrd="0" presId="urn:microsoft.com/office/officeart/2005/8/layout/hierarchy3"/>
    <dgm:cxn modelId="{64981A3A-AC20-45D2-9CA1-EC5B6B011B0E}" type="presParOf" srcId="{A7C13485-932B-433A-8547-6B08E417A4C2}" destId="{E7EF0EBB-5C96-4AF5-8563-D319BCBFBA0C}" srcOrd="2" destOrd="0" presId="urn:microsoft.com/office/officeart/2005/8/layout/hierarchy3"/>
    <dgm:cxn modelId="{86B79B03-04C9-42E2-BCF3-9628314B845B}" type="presParOf" srcId="{E7EF0EBB-5C96-4AF5-8563-D319BCBFBA0C}" destId="{59134D36-10F1-4A87-9A74-63621E86961E}" srcOrd="0" destOrd="0" presId="urn:microsoft.com/office/officeart/2005/8/layout/hierarchy3"/>
    <dgm:cxn modelId="{A1E879EF-BA46-4E79-9ACC-14D73867F230}" type="presParOf" srcId="{59134D36-10F1-4A87-9A74-63621E86961E}" destId="{23313EEC-3C0E-4986-8BF5-3ED6E774324B}" srcOrd="0" destOrd="0" presId="urn:microsoft.com/office/officeart/2005/8/layout/hierarchy3"/>
    <dgm:cxn modelId="{874BD6A5-F099-49B6-BDA7-E0E76EF51A8B}" type="presParOf" srcId="{59134D36-10F1-4A87-9A74-63621E86961E}" destId="{33AEA63A-88B5-4D56-B985-A49D569303B9}" srcOrd="1" destOrd="0" presId="urn:microsoft.com/office/officeart/2005/8/layout/hierarchy3"/>
    <dgm:cxn modelId="{A7A6E163-69B7-4DFE-A07C-4210BF682A89}" type="presParOf" srcId="{E7EF0EBB-5C96-4AF5-8563-D319BCBFBA0C}" destId="{7BFD86A1-22D8-4C7A-9EF3-398EBE9E1BEB}" srcOrd="1" destOrd="0" presId="urn:microsoft.com/office/officeart/2005/8/layout/hierarchy3"/>
    <dgm:cxn modelId="{11ADBAA3-374E-4B12-A789-BEBC5ABD1EE1}" type="presParOf" srcId="{7BFD86A1-22D8-4C7A-9EF3-398EBE9E1BEB}" destId="{16526CF6-477B-4541-B13B-3DAF1D17912F}" srcOrd="0" destOrd="0" presId="urn:microsoft.com/office/officeart/2005/8/layout/hierarchy3"/>
    <dgm:cxn modelId="{0DE9D3F6-6D6F-4E62-9063-5688D4F892E5}" type="presParOf" srcId="{7BFD86A1-22D8-4C7A-9EF3-398EBE9E1BEB}" destId="{8619FF26-7A0B-4F20-B855-5BC1489202DD}" srcOrd="1" destOrd="0" presId="urn:microsoft.com/office/officeart/2005/8/layout/hierarchy3"/>
    <dgm:cxn modelId="{21745482-4750-4018-9023-28E0D5332151}" type="presParOf" srcId="{A7C13485-932B-433A-8547-6B08E417A4C2}" destId="{6FAD9F48-4C53-4CC8-A607-287715839542}" srcOrd="3" destOrd="0" presId="urn:microsoft.com/office/officeart/2005/8/layout/hierarchy3"/>
    <dgm:cxn modelId="{323CD340-B70A-4047-BD3B-4023DF3CA713}" type="presParOf" srcId="{6FAD9F48-4C53-4CC8-A607-287715839542}" destId="{15F20CBF-193A-461F-B909-C2E735E4B3DD}" srcOrd="0" destOrd="0" presId="urn:microsoft.com/office/officeart/2005/8/layout/hierarchy3"/>
    <dgm:cxn modelId="{246965D9-F7EA-4CC5-92D2-E0B8731F36FC}" type="presParOf" srcId="{15F20CBF-193A-461F-B909-C2E735E4B3DD}" destId="{45954B7A-01FB-4B1B-A59A-5408199FD8DD}" srcOrd="0" destOrd="0" presId="urn:microsoft.com/office/officeart/2005/8/layout/hierarchy3"/>
    <dgm:cxn modelId="{7C9F61B8-F8EF-4576-8252-440E8D0C4515}" type="presParOf" srcId="{15F20CBF-193A-461F-B909-C2E735E4B3DD}" destId="{7AB8687D-AF7A-4298-8FD4-08E96594F019}" srcOrd="1" destOrd="0" presId="urn:microsoft.com/office/officeart/2005/8/layout/hierarchy3"/>
    <dgm:cxn modelId="{C052BE30-0690-444E-9305-C71946E9BE1E}" type="presParOf" srcId="{6FAD9F48-4C53-4CC8-A607-287715839542}" destId="{13FD9059-3420-47DD-88DE-C980FD52E382}" srcOrd="1" destOrd="0" presId="urn:microsoft.com/office/officeart/2005/8/layout/hierarchy3"/>
    <dgm:cxn modelId="{DB36E229-780F-4B2D-9A24-ECB3979C34B3}" type="presParOf" srcId="{13FD9059-3420-47DD-88DE-C980FD52E382}" destId="{97CF61D8-1652-456F-88AE-81DB2188D539}" srcOrd="0" destOrd="0" presId="urn:microsoft.com/office/officeart/2005/8/layout/hierarchy3"/>
    <dgm:cxn modelId="{0EC932E9-74D5-4579-9A8B-991FA0BC842A}" type="presParOf" srcId="{13FD9059-3420-47DD-88DE-C980FD52E382}" destId="{9C76E590-772B-435C-AFBA-ED2235312C32}" srcOrd="1"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75F85C4-48CF-4C01-BDE6-439509E69B69}"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2ADB4F8E-634A-4577-8846-11B28C6D8967}">
      <dgm:prSet custT="1"/>
      <dgm:spPr/>
      <dgm:t>
        <a:bodyPr/>
        <a:lstStyle/>
        <a:p>
          <a:pPr algn="ctr" rtl="0"/>
          <a:r>
            <a:rPr lang="en-US" sz="2900">
              <a:latin typeface="+mj-lt"/>
            </a:rPr>
            <a:t>Pell Grant/ </a:t>
          </a:r>
          <a:r>
            <a:rPr lang="en-US" sz="2900" err="1">
              <a:latin typeface="+mj-lt"/>
            </a:rPr>
            <a:t>Subvención</a:t>
          </a:r>
          <a:r>
            <a:rPr lang="en-US" sz="2900">
              <a:latin typeface="+mj-lt"/>
            </a:rPr>
            <a:t> Pell</a:t>
          </a:r>
        </a:p>
      </dgm:t>
    </dgm:pt>
    <dgm:pt modelId="{520F4DFA-3361-4D87-A9FF-75D5720593DE}" type="parTrans" cxnId="{D4196D0A-1D51-4010-8270-4667C0B9DDCF}">
      <dgm:prSet/>
      <dgm:spPr/>
      <dgm:t>
        <a:bodyPr/>
        <a:lstStyle/>
        <a:p>
          <a:pPr algn="ctr"/>
          <a:endParaRPr lang="en-US"/>
        </a:p>
      </dgm:t>
    </dgm:pt>
    <dgm:pt modelId="{EC94E8CF-6F97-425E-BD8F-A546F038E146}" type="sibTrans" cxnId="{D4196D0A-1D51-4010-8270-4667C0B9DDCF}">
      <dgm:prSet/>
      <dgm:spPr/>
      <dgm:t>
        <a:bodyPr/>
        <a:lstStyle/>
        <a:p>
          <a:pPr algn="ctr"/>
          <a:endParaRPr lang="en-US"/>
        </a:p>
      </dgm:t>
    </dgm:pt>
    <dgm:pt modelId="{490ED550-8F99-4F54-BC25-A0A67E0AC796}">
      <dgm:prSet custT="1"/>
      <dgm:spPr/>
      <dgm:t>
        <a:bodyPr/>
        <a:lstStyle/>
        <a:p>
          <a:pPr algn="ctr" rtl="0"/>
          <a:r>
            <a:rPr lang="en-US" sz="2900" err="1">
              <a:latin typeface="+mj-lt"/>
            </a:rPr>
            <a:t>Trabajo</a:t>
          </a:r>
          <a:r>
            <a:rPr lang="en-US" sz="2900">
              <a:latin typeface="+mj-lt"/>
            </a:rPr>
            <a:t> y </a:t>
          </a:r>
          <a:r>
            <a:rPr lang="en-US" sz="2900" err="1">
              <a:latin typeface="+mj-lt"/>
            </a:rPr>
            <a:t>Estudio</a:t>
          </a:r>
          <a:r>
            <a:rPr lang="en-US" sz="2900">
              <a:latin typeface="+mj-lt"/>
            </a:rPr>
            <a:t> Federal</a:t>
          </a:r>
        </a:p>
      </dgm:t>
    </dgm:pt>
    <dgm:pt modelId="{8BB5C974-0449-4313-8FEB-C9A05F28429D}" type="parTrans" cxnId="{C267EF2A-8AEC-4F65-BE4D-F31D87EFAD53}">
      <dgm:prSet/>
      <dgm:spPr/>
      <dgm:t>
        <a:bodyPr/>
        <a:lstStyle/>
        <a:p>
          <a:pPr algn="ctr"/>
          <a:endParaRPr lang="en-US"/>
        </a:p>
      </dgm:t>
    </dgm:pt>
    <dgm:pt modelId="{7EE3BBDF-7721-4CC8-8EDA-FDB8D43FD6B7}" type="sibTrans" cxnId="{C267EF2A-8AEC-4F65-BE4D-F31D87EFAD53}">
      <dgm:prSet/>
      <dgm:spPr/>
      <dgm:t>
        <a:bodyPr/>
        <a:lstStyle/>
        <a:p>
          <a:pPr algn="ctr"/>
          <a:endParaRPr lang="en-US"/>
        </a:p>
      </dgm:t>
    </dgm:pt>
    <dgm:pt modelId="{EA63ABEF-912F-46D6-9637-30C164967B9F}">
      <dgm:prSet custT="1"/>
      <dgm:spPr/>
      <dgm:t>
        <a:bodyPr/>
        <a:lstStyle/>
        <a:p>
          <a:pPr algn="ctr" rtl="0"/>
          <a:r>
            <a:rPr lang="es-ES" sz="2900" b="0">
              <a:latin typeface="+mj-lt"/>
            </a:rPr>
            <a:t>Préstamos Sin Subsidio/ Subsidiados</a:t>
          </a:r>
          <a:endParaRPr lang="en-US" sz="2900" b="0">
            <a:latin typeface="+mj-lt"/>
          </a:endParaRPr>
        </a:p>
      </dgm:t>
    </dgm:pt>
    <dgm:pt modelId="{8E48EA9E-E28D-42FB-B2A2-04CB1F35D363}" type="parTrans" cxnId="{AB52389B-39E2-480B-A433-C71F3436B075}">
      <dgm:prSet/>
      <dgm:spPr/>
      <dgm:t>
        <a:bodyPr/>
        <a:lstStyle/>
        <a:p>
          <a:pPr algn="ctr"/>
          <a:endParaRPr lang="en-US"/>
        </a:p>
      </dgm:t>
    </dgm:pt>
    <dgm:pt modelId="{269261E1-1D56-468C-8D7C-892B3F269AF3}" type="sibTrans" cxnId="{AB52389B-39E2-480B-A433-C71F3436B075}">
      <dgm:prSet/>
      <dgm:spPr/>
      <dgm:t>
        <a:bodyPr/>
        <a:lstStyle/>
        <a:p>
          <a:pPr algn="ctr"/>
          <a:endParaRPr lang="en-US"/>
        </a:p>
      </dgm:t>
    </dgm:pt>
    <dgm:pt modelId="{503543C2-E7E9-4E57-AC54-3442975875C0}">
      <dgm:prSet custT="1"/>
      <dgm:spPr/>
      <dgm:t>
        <a:bodyPr/>
        <a:lstStyle/>
        <a:p>
          <a:pPr algn="ctr" rtl="0"/>
          <a:r>
            <a:rPr lang="en-US" sz="2900" err="1">
              <a:latin typeface="+mj-lt"/>
            </a:rPr>
            <a:t>Préstamo</a:t>
          </a:r>
          <a:r>
            <a:rPr lang="en-US" sz="2900">
              <a:latin typeface="+mj-lt"/>
            </a:rPr>
            <a:t> Para Padres</a:t>
          </a:r>
        </a:p>
      </dgm:t>
    </dgm:pt>
    <dgm:pt modelId="{216BF61C-937E-49A4-904D-AEDF4455D8E6}" type="parTrans" cxnId="{0C21B5DC-6B03-402D-8FD2-210D0AEC14CE}">
      <dgm:prSet/>
      <dgm:spPr/>
      <dgm:t>
        <a:bodyPr/>
        <a:lstStyle/>
        <a:p>
          <a:pPr algn="ctr"/>
          <a:endParaRPr lang="en-US"/>
        </a:p>
      </dgm:t>
    </dgm:pt>
    <dgm:pt modelId="{86C84762-E4F8-4D3C-8C91-BB2734A43824}" type="sibTrans" cxnId="{0C21B5DC-6B03-402D-8FD2-210D0AEC14CE}">
      <dgm:prSet/>
      <dgm:spPr/>
      <dgm:t>
        <a:bodyPr/>
        <a:lstStyle/>
        <a:p>
          <a:pPr algn="ctr"/>
          <a:endParaRPr lang="en-US"/>
        </a:p>
      </dgm:t>
    </dgm:pt>
    <dgm:pt modelId="{E699CF4F-93C7-49C6-9BDE-8C40EAFB3487}" type="pres">
      <dgm:prSet presAssocID="{575F85C4-48CF-4C01-BDE6-439509E69B69}" presName="linear" presStyleCnt="0">
        <dgm:presLayoutVars>
          <dgm:animLvl val="lvl"/>
          <dgm:resizeHandles val="exact"/>
        </dgm:presLayoutVars>
      </dgm:prSet>
      <dgm:spPr/>
    </dgm:pt>
    <dgm:pt modelId="{A5D1DB7A-2623-4E40-8A97-21F71B94694E}" type="pres">
      <dgm:prSet presAssocID="{2ADB4F8E-634A-4577-8846-11B28C6D8967}" presName="parentText" presStyleLbl="node1" presStyleIdx="0" presStyleCnt="4" custLinFactY="-19178" custLinFactNeighborY="-100000">
        <dgm:presLayoutVars>
          <dgm:chMax val="0"/>
          <dgm:bulletEnabled val="1"/>
        </dgm:presLayoutVars>
      </dgm:prSet>
      <dgm:spPr/>
    </dgm:pt>
    <dgm:pt modelId="{D3A82FD0-E0A5-4B7F-9C99-EFC97ECDFAD3}" type="pres">
      <dgm:prSet presAssocID="{EC94E8CF-6F97-425E-BD8F-A546F038E146}" presName="spacer" presStyleCnt="0"/>
      <dgm:spPr/>
    </dgm:pt>
    <dgm:pt modelId="{855489E8-F248-45DB-B8B1-75DDA1E139AD}" type="pres">
      <dgm:prSet presAssocID="{490ED550-8F99-4F54-BC25-A0A67E0AC796}" presName="parentText" presStyleLbl="node1" presStyleIdx="1" presStyleCnt="4" custLinFactY="-8026" custLinFactNeighborY="-100000">
        <dgm:presLayoutVars>
          <dgm:chMax val="0"/>
          <dgm:bulletEnabled val="1"/>
        </dgm:presLayoutVars>
      </dgm:prSet>
      <dgm:spPr/>
    </dgm:pt>
    <dgm:pt modelId="{1C099B71-23E7-441B-A5AA-70E9803EEB39}" type="pres">
      <dgm:prSet presAssocID="{7EE3BBDF-7721-4CC8-8EDA-FDB8D43FD6B7}" presName="spacer" presStyleCnt="0"/>
      <dgm:spPr/>
    </dgm:pt>
    <dgm:pt modelId="{CD12BA3A-2F4C-4219-A6A1-F4EEC1981CEB}" type="pres">
      <dgm:prSet presAssocID="{EA63ABEF-912F-46D6-9637-30C164967B9F}" presName="parentText" presStyleLbl="node1" presStyleIdx="2" presStyleCnt="4" custLinFactNeighborX="-245" custLinFactNeighborY="63826">
        <dgm:presLayoutVars>
          <dgm:chMax val="0"/>
          <dgm:bulletEnabled val="1"/>
        </dgm:presLayoutVars>
      </dgm:prSet>
      <dgm:spPr/>
    </dgm:pt>
    <dgm:pt modelId="{87C12CB3-DB94-4BA6-8E8D-CF285A8A2070}" type="pres">
      <dgm:prSet presAssocID="{269261E1-1D56-468C-8D7C-892B3F269AF3}" presName="spacer" presStyleCnt="0"/>
      <dgm:spPr/>
    </dgm:pt>
    <dgm:pt modelId="{5AB01CB7-F3BC-41D1-B5E8-A88309A4CF61}" type="pres">
      <dgm:prSet presAssocID="{503543C2-E7E9-4E57-AC54-3442975875C0}" presName="parentText" presStyleLbl="node1" presStyleIdx="3" presStyleCnt="4" custLinFactY="10185" custLinFactNeighborX="245" custLinFactNeighborY="100000">
        <dgm:presLayoutVars>
          <dgm:chMax val="0"/>
          <dgm:bulletEnabled val="1"/>
        </dgm:presLayoutVars>
      </dgm:prSet>
      <dgm:spPr/>
    </dgm:pt>
  </dgm:ptLst>
  <dgm:cxnLst>
    <dgm:cxn modelId="{D4196D0A-1D51-4010-8270-4667C0B9DDCF}" srcId="{575F85C4-48CF-4C01-BDE6-439509E69B69}" destId="{2ADB4F8E-634A-4577-8846-11B28C6D8967}" srcOrd="0" destOrd="0" parTransId="{520F4DFA-3361-4D87-A9FF-75D5720593DE}" sibTransId="{EC94E8CF-6F97-425E-BD8F-A546F038E146}"/>
    <dgm:cxn modelId="{B7A14C26-8AC0-4013-A463-574C4D65B7BF}" type="presOf" srcId="{503543C2-E7E9-4E57-AC54-3442975875C0}" destId="{5AB01CB7-F3BC-41D1-B5E8-A88309A4CF61}" srcOrd="0" destOrd="0" presId="urn:microsoft.com/office/officeart/2005/8/layout/vList2"/>
    <dgm:cxn modelId="{C267EF2A-8AEC-4F65-BE4D-F31D87EFAD53}" srcId="{575F85C4-48CF-4C01-BDE6-439509E69B69}" destId="{490ED550-8F99-4F54-BC25-A0A67E0AC796}" srcOrd="1" destOrd="0" parTransId="{8BB5C974-0449-4313-8FEB-C9A05F28429D}" sibTransId="{7EE3BBDF-7721-4CC8-8EDA-FDB8D43FD6B7}"/>
    <dgm:cxn modelId="{573F0F43-0749-4BD5-80E7-EAF5FE643995}" type="presOf" srcId="{490ED550-8F99-4F54-BC25-A0A67E0AC796}" destId="{855489E8-F248-45DB-B8B1-75DDA1E139AD}" srcOrd="0" destOrd="0" presId="urn:microsoft.com/office/officeart/2005/8/layout/vList2"/>
    <dgm:cxn modelId="{AB52389B-39E2-480B-A433-C71F3436B075}" srcId="{575F85C4-48CF-4C01-BDE6-439509E69B69}" destId="{EA63ABEF-912F-46D6-9637-30C164967B9F}" srcOrd="2" destOrd="0" parTransId="{8E48EA9E-E28D-42FB-B2A2-04CB1F35D363}" sibTransId="{269261E1-1D56-468C-8D7C-892B3F269AF3}"/>
    <dgm:cxn modelId="{B2B845B2-3315-4A57-B2C8-D1A39B24F256}" type="presOf" srcId="{2ADB4F8E-634A-4577-8846-11B28C6D8967}" destId="{A5D1DB7A-2623-4E40-8A97-21F71B94694E}" srcOrd="0" destOrd="0" presId="urn:microsoft.com/office/officeart/2005/8/layout/vList2"/>
    <dgm:cxn modelId="{0C21B5DC-6B03-402D-8FD2-210D0AEC14CE}" srcId="{575F85C4-48CF-4C01-BDE6-439509E69B69}" destId="{503543C2-E7E9-4E57-AC54-3442975875C0}" srcOrd="3" destOrd="0" parTransId="{216BF61C-937E-49A4-904D-AEDF4455D8E6}" sibTransId="{86C84762-E4F8-4D3C-8C91-BB2734A43824}"/>
    <dgm:cxn modelId="{6880BDE2-F3B6-4CAA-A941-5BEE0A7F2918}" type="presOf" srcId="{EA63ABEF-912F-46D6-9637-30C164967B9F}" destId="{CD12BA3A-2F4C-4219-A6A1-F4EEC1981CEB}" srcOrd="0" destOrd="0" presId="urn:microsoft.com/office/officeart/2005/8/layout/vList2"/>
    <dgm:cxn modelId="{54CBEBED-6C40-44B7-87DC-A780DDDA8A04}" type="presOf" srcId="{575F85C4-48CF-4C01-BDE6-439509E69B69}" destId="{E699CF4F-93C7-49C6-9BDE-8C40EAFB3487}" srcOrd="0" destOrd="0" presId="urn:microsoft.com/office/officeart/2005/8/layout/vList2"/>
    <dgm:cxn modelId="{384F1157-BA17-4CC8-A440-B126C9ACFFD8}" type="presParOf" srcId="{E699CF4F-93C7-49C6-9BDE-8C40EAFB3487}" destId="{A5D1DB7A-2623-4E40-8A97-21F71B94694E}" srcOrd="0" destOrd="0" presId="urn:microsoft.com/office/officeart/2005/8/layout/vList2"/>
    <dgm:cxn modelId="{6A98E2D8-1177-4FF5-9E7D-097835BE4241}" type="presParOf" srcId="{E699CF4F-93C7-49C6-9BDE-8C40EAFB3487}" destId="{D3A82FD0-E0A5-4B7F-9C99-EFC97ECDFAD3}" srcOrd="1" destOrd="0" presId="urn:microsoft.com/office/officeart/2005/8/layout/vList2"/>
    <dgm:cxn modelId="{486FB24D-1E1B-4768-B395-580EF53C8848}" type="presParOf" srcId="{E699CF4F-93C7-49C6-9BDE-8C40EAFB3487}" destId="{855489E8-F248-45DB-B8B1-75DDA1E139AD}" srcOrd="2" destOrd="0" presId="urn:microsoft.com/office/officeart/2005/8/layout/vList2"/>
    <dgm:cxn modelId="{D7781A66-9439-4545-9EE4-28E4D5D1CD3D}" type="presParOf" srcId="{E699CF4F-93C7-49C6-9BDE-8C40EAFB3487}" destId="{1C099B71-23E7-441B-A5AA-70E9803EEB39}" srcOrd="3" destOrd="0" presId="urn:microsoft.com/office/officeart/2005/8/layout/vList2"/>
    <dgm:cxn modelId="{53175C1B-B330-4016-829C-50A1819B5A4B}" type="presParOf" srcId="{E699CF4F-93C7-49C6-9BDE-8C40EAFB3487}" destId="{CD12BA3A-2F4C-4219-A6A1-F4EEC1981CEB}" srcOrd="4" destOrd="0" presId="urn:microsoft.com/office/officeart/2005/8/layout/vList2"/>
    <dgm:cxn modelId="{DDC531B8-5D6A-4150-BD11-C674C0A71F81}" type="presParOf" srcId="{E699CF4F-93C7-49C6-9BDE-8C40EAFB3487}" destId="{87C12CB3-DB94-4BA6-8E8D-CF285A8A2070}" srcOrd="5" destOrd="0" presId="urn:microsoft.com/office/officeart/2005/8/layout/vList2"/>
    <dgm:cxn modelId="{B15B5448-8756-4650-8525-69C110E32959}" type="presParOf" srcId="{E699CF4F-93C7-49C6-9BDE-8C40EAFB3487}" destId="{5AB01CB7-F3BC-41D1-B5E8-A88309A4CF61}"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3E6BB5E-DE0A-416D-B22C-288E501B8BEC}" type="doc">
      <dgm:prSet loTypeId="urn:microsoft.com/office/officeart/2005/8/layout/vList2" loCatId="list" qsTypeId="urn:microsoft.com/office/officeart/2005/8/quickstyle/simple1" qsCatId="simple" csTypeId="urn:microsoft.com/office/officeart/2005/8/colors/accent0_1" csCatId="mainScheme" phldr="1"/>
      <dgm:spPr/>
      <dgm:t>
        <a:bodyPr/>
        <a:lstStyle/>
        <a:p>
          <a:endParaRPr lang="en-US"/>
        </a:p>
      </dgm:t>
    </dgm:pt>
    <dgm:pt modelId="{650733C7-83CE-484C-B820-5F35BA8A2B56}">
      <dgm:prSet custT="1"/>
      <dgm:spPr/>
      <dgm:t>
        <a:bodyPr/>
        <a:lstStyle/>
        <a:p>
          <a:pPr algn="ctr" rtl="0"/>
          <a:r>
            <a:rPr lang="en-US" sz="2400">
              <a:latin typeface="+mj-lt"/>
            </a:rPr>
            <a:t>Washington College Grant </a:t>
          </a:r>
        </a:p>
        <a:p>
          <a:pPr algn="ctr" rtl="0"/>
          <a:r>
            <a:rPr lang="en-US" sz="2400">
              <a:latin typeface="+mj-lt"/>
            </a:rPr>
            <a:t>(conocido como WA Grant)</a:t>
          </a:r>
        </a:p>
      </dgm:t>
    </dgm:pt>
    <dgm:pt modelId="{193D2135-F70F-496F-AF14-4BA74CAF2A59}" type="parTrans" cxnId="{7A278429-D999-4194-9985-FB85F8732F58}">
      <dgm:prSet/>
      <dgm:spPr/>
      <dgm:t>
        <a:bodyPr/>
        <a:lstStyle/>
        <a:p>
          <a:endParaRPr lang="en-US"/>
        </a:p>
      </dgm:t>
    </dgm:pt>
    <dgm:pt modelId="{65E12C37-7578-4BDA-B34D-6637E7E659A8}" type="sibTrans" cxnId="{7A278429-D999-4194-9985-FB85F8732F58}">
      <dgm:prSet/>
      <dgm:spPr/>
      <dgm:t>
        <a:bodyPr/>
        <a:lstStyle/>
        <a:p>
          <a:endParaRPr lang="en-US"/>
        </a:p>
      </dgm:t>
    </dgm:pt>
    <dgm:pt modelId="{0AFAB379-F8EE-4B57-8C7B-3AAB4A9A5460}">
      <dgm:prSet custT="1"/>
      <dgm:spPr/>
      <dgm:t>
        <a:bodyPr/>
        <a:lstStyle/>
        <a:p>
          <a:pPr algn="ctr" rtl="0"/>
          <a:r>
            <a:rPr lang="en-US" sz="2400">
              <a:latin typeface="+mj-lt"/>
            </a:rPr>
            <a:t>Beca College Bound</a:t>
          </a:r>
        </a:p>
      </dgm:t>
    </dgm:pt>
    <dgm:pt modelId="{540E3AE2-EE9B-4198-8C4F-080F969E5FD5}" type="parTrans" cxnId="{331C626F-28CD-46A8-AA9D-7FB27542102C}">
      <dgm:prSet/>
      <dgm:spPr/>
      <dgm:t>
        <a:bodyPr/>
        <a:lstStyle/>
        <a:p>
          <a:endParaRPr lang="en-US"/>
        </a:p>
      </dgm:t>
    </dgm:pt>
    <dgm:pt modelId="{AF47DEE0-8B99-4ACF-86C2-5101EB2D84D6}" type="sibTrans" cxnId="{331C626F-28CD-46A8-AA9D-7FB27542102C}">
      <dgm:prSet/>
      <dgm:spPr/>
      <dgm:t>
        <a:bodyPr/>
        <a:lstStyle/>
        <a:p>
          <a:endParaRPr lang="en-US"/>
        </a:p>
      </dgm:t>
    </dgm:pt>
    <dgm:pt modelId="{4B518E45-6178-4880-A0C2-35C30EFBA29C}">
      <dgm:prSet custT="1"/>
      <dgm:spPr/>
      <dgm:t>
        <a:bodyPr/>
        <a:lstStyle/>
        <a:p>
          <a:pPr algn="ctr" rtl="0"/>
          <a:r>
            <a:rPr lang="en-US" sz="2400" err="1">
              <a:latin typeface="+mj-lt"/>
            </a:rPr>
            <a:t>Trabajo</a:t>
          </a:r>
          <a:r>
            <a:rPr lang="en-US" sz="2400">
              <a:latin typeface="+mj-lt"/>
            </a:rPr>
            <a:t> y </a:t>
          </a:r>
          <a:r>
            <a:rPr lang="en-US" sz="2400" err="1">
              <a:latin typeface="+mj-lt"/>
            </a:rPr>
            <a:t>Estudio</a:t>
          </a:r>
          <a:r>
            <a:rPr lang="en-US" sz="2400">
              <a:latin typeface="+mj-lt"/>
            </a:rPr>
            <a:t> </a:t>
          </a:r>
          <a:r>
            <a:rPr lang="en-US" sz="2400" err="1">
              <a:latin typeface="+mj-lt"/>
            </a:rPr>
            <a:t>Estatal</a:t>
          </a:r>
          <a:endParaRPr lang="en-US" sz="2400">
            <a:latin typeface="+mj-lt"/>
          </a:endParaRPr>
        </a:p>
      </dgm:t>
    </dgm:pt>
    <dgm:pt modelId="{2D7398C9-2172-47E5-A368-4F4FFD1354E7}" type="parTrans" cxnId="{33D35D84-929C-4E15-A860-365AA889FC47}">
      <dgm:prSet/>
      <dgm:spPr/>
      <dgm:t>
        <a:bodyPr/>
        <a:lstStyle/>
        <a:p>
          <a:endParaRPr lang="en-US"/>
        </a:p>
      </dgm:t>
    </dgm:pt>
    <dgm:pt modelId="{142BA9F5-4EEB-4E8B-B382-567CACDA4B64}" type="sibTrans" cxnId="{33D35D84-929C-4E15-A860-365AA889FC47}">
      <dgm:prSet/>
      <dgm:spPr/>
      <dgm:t>
        <a:bodyPr/>
        <a:lstStyle/>
        <a:p>
          <a:endParaRPr lang="en-US"/>
        </a:p>
      </dgm:t>
    </dgm:pt>
    <dgm:pt modelId="{4175AB52-7183-4BA8-922E-7FC20D4E585A}">
      <dgm:prSet custT="1"/>
      <dgm:spPr/>
      <dgm:t>
        <a:bodyPr/>
        <a:lstStyle/>
        <a:p>
          <a:pPr algn="ctr" rtl="0"/>
          <a:r>
            <a:rPr lang="en-US" sz="2400" err="1">
              <a:latin typeface="+mj-lt"/>
            </a:rPr>
            <a:t>Pasaporte</a:t>
          </a:r>
          <a:r>
            <a:rPr lang="en-US" sz="2400">
              <a:latin typeface="+mj-lt"/>
            </a:rPr>
            <a:t> a Carreras </a:t>
          </a:r>
        </a:p>
      </dgm:t>
    </dgm:pt>
    <dgm:pt modelId="{039F2887-033B-4D88-B155-2A3549FF1C9F}" type="parTrans" cxnId="{F6412528-77D4-4A6F-814C-D7AADDB3920C}">
      <dgm:prSet/>
      <dgm:spPr/>
      <dgm:t>
        <a:bodyPr/>
        <a:lstStyle/>
        <a:p>
          <a:endParaRPr lang="en-US"/>
        </a:p>
      </dgm:t>
    </dgm:pt>
    <dgm:pt modelId="{3D1A44AF-4F15-428A-BA32-7E2C1F53B3B3}" type="sibTrans" cxnId="{F6412528-77D4-4A6F-814C-D7AADDB3920C}">
      <dgm:prSet/>
      <dgm:spPr/>
      <dgm:t>
        <a:bodyPr/>
        <a:lstStyle/>
        <a:p>
          <a:endParaRPr lang="en-US"/>
        </a:p>
      </dgm:t>
    </dgm:pt>
    <dgm:pt modelId="{E7884964-A33C-41DC-8855-8473ED6F3025}">
      <dgm:prSet custT="1"/>
      <dgm:spPr/>
      <dgm:t>
        <a:bodyPr/>
        <a:lstStyle/>
        <a:p>
          <a:pPr algn="ctr" rtl="0"/>
          <a:r>
            <a:rPr lang="en-US" sz="2400">
              <a:latin typeface="+mj-lt"/>
            </a:rPr>
            <a:t>Opportunity Grant/ Beca de </a:t>
          </a:r>
          <a:r>
            <a:rPr lang="en-US" sz="2400" err="1">
              <a:latin typeface="+mj-lt"/>
            </a:rPr>
            <a:t>Oportunidad</a:t>
          </a:r>
          <a:endParaRPr lang="en-US" sz="2400">
            <a:latin typeface="+mj-lt"/>
          </a:endParaRPr>
        </a:p>
      </dgm:t>
    </dgm:pt>
    <dgm:pt modelId="{1341F732-415A-4886-8916-D1CBC9388D93}" type="parTrans" cxnId="{6C5D067A-A5F2-410D-8903-C5C4638154FF}">
      <dgm:prSet/>
      <dgm:spPr/>
      <dgm:t>
        <a:bodyPr/>
        <a:lstStyle/>
        <a:p>
          <a:endParaRPr lang="en-US"/>
        </a:p>
      </dgm:t>
    </dgm:pt>
    <dgm:pt modelId="{55C7DC68-8803-4C99-9FEB-CD5339E162E7}" type="sibTrans" cxnId="{6C5D067A-A5F2-410D-8903-C5C4638154FF}">
      <dgm:prSet/>
      <dgm:spPr/>
      <dgm:t>
        <a:bodyPr/>
        <a:lstStyle/>
        <a:p>
          <a:endParaRPr lang="en-US"/>
        </a:p>
      </dgm:t>
    </dgm:pt>
    <dgm:pt modelId="{44BA10AD-E430-4935-80FC-CBAB25CF2FB8}" type="pres">
      <dgm:prSet presAssocID="{93E6BB5E-DE0A-416D-B22C-288E501B8BEC}" presName="linear" presStyleCnt="0">
        <dgm:presLayoutVars>
          <dgm:animLvl val="lvl"/>
          <dgm:resizeHandles val="exact"/>
        </dgm:presLayoutVars>
      </dgm:prSet>
      <dgm:spPr/>
    </dgm:pt>
    <dgm:pt modelId="{82B90C0F-8546-40EC-955C-8E30C8FA0D29}" type="pres">
      <dgm:prSet presAssocID="{650733C7-83CE-484C-B820-5F35BA8A2B56}" presName="parentText" presStyleLbl="node1" presStyleIdx="0" presStyleCnt="5" custLinFactNeighborX="-26090" custLinFactNeighborY="-38463">
        <dgm:presLayoutVars>
          <dgm:chMax val="0"/>
          <dgm:bulletEnabled val="1"/>
        </dgm:presLayoutVars>
      </dgm:prSet>
      <dgm:spPr/>
    </dgm:pt>
    <dgm:pt modelId="{5F61DF50-C8E8-48B6-8D8E-DE8731C9CC3B}" type="pres">
      <dgm:prSet presAssocID="{65E12C37-7578-4BDA-B34D-6637E7E659A8}" presName="spacer" presStyleCnt="0"/>
      <dgm:spPr/>
    </dgm:pt>
    <dgm:pt modelId="{D4F96D99-37BD-481E-BB4A-A5B6CDCAF097}" type="pres">
      <dgm:prSet presAssocID="{0AFAB379-F8EE-4B57-8C7B-3AAB4A9A5460}" presName="parentText" presStyleLbl="node1" presStyleIdx="1" presStyleCnt="5">
        <dgm:presLayoutVars>
          <dgm:chMax val="0"/>
          <dgm:bulletEnabled val="1"/>
        </dgm:presLayoutVars>
      </dgm:prSet>
      <dgm:spPr/>
    </dgm:pt>
    <dgm:pt modelId="{B6EAE6AC-65D4-4B79-867A-8B333E46A6BF}" type="pres">
      <dgm:prSet presAssocID="{AF47DEE0-8B99-4ACF-86C2-5101EB2D84D6}" presName="spacer" presStyleCnt="0"/>
      <dgm:spPr/>
    </dgm:pt>
    <dgm:pt modelId="{FDCC5EB3-5440-4D22-8B0E-23E0348BED7D}" type="pres">
      <dgm:prSet presAssocID="{4B518E45-6178-4880-A0C2-35C30EFBA29C}" presName="parentText" presStyleLbl="node1" presStyleIdx="2" presStyleCnt="5">
        <dgm:presLayoutVars>
          <dgm:chMax val="0"/>
          <dgm:bulletEnabled val="1"/>
        </dgm:presLayoutVars>
      </dgm:prSet>
      <dgm:spPr/>
    </dgm:pt>
    <dgm:pt modelId="{0C37CC7E-8A24-4766-8B7F-3FCAF4363FCF}" type="pres">
      <dgm:prSet presAssocID="{142BA9F5-4EEB-4E8B-B382-567CACDA4B64}" presName="spacer" presStyleCnt="0"/>
      <dgm:spPr/>
    </dgm:pt>
    <dgm:pt modelId="{86B1EE22-7404-4D82-9598-047F608C0404}" type="pres">
      <dgm:prSet presAssocID="{4175AB52-7183-4BA8-922E-7FC20D4E585A}" presName="parentText" presStyleLbl="node1" presStyleIdx="3" presStyleCnt="5">
        <dgm:presLayoutVars>
          <dgm:chMax val="0"/>
          <dgm:bulletEnabled val="1"/>
        </dgm:presLayoutVars>
      </dgm:prSet>
      <dgm:spPr/>
    </dgm:pt>
    <dgm:pt modelId="{8D9A2D72-3696-440B-A3BD-6395EB367D6D}" type="pres">
      <dgm:prSet presAssocID="{3D1A44AF-4F15-428A-BA32-7E2C1F53B3B3}" presName="spacer" presStyleCnt="0"/>
      <dgm:spPr/>
    </dgm:pt>
    <dgm:pt modelId="{A80CE770-6EF5-4476-B603-24C453019235}" type="pres">
      <dgm:prSet presAssocID="{E7884964-A33C-41DC-8855-8473ED6F3025}" presName="parentText" presStyleLbl="node1" presStyleIdx="4" presStyleCnt="5">
        <dgm:presLayoutVars>
          <dgm:chMax val="0"/>
          <dgm:bulletEnabled val="1"/>
        </dgm:presLayoutVars>
      </dgm:prSet>
      <dgm:spPr/>
    </dgm:pt>
  </dgm:ptLst>
  <dgm:cxnLst>
    <dgm:cxn modelId="{F6412528-77D4-4A6F-814C-D7AADDB3920C}" srcId="{93E6BB5E-DE0A-416D-B22C-288E501B8BEC}" destId="{4175AB52-7183-4BA8-922E-7FC20D4E585A}" srcOrd="3" destOrd="0" parTransId="{039F2887-033B-4D88-B155-2A3549FF1C9F}" sibTransId="{3D1A44AF-4F15-428A-BA32-7E2C1F53B3B3}"/>
    <dgm:cxn modelId="{7A278429-D999-4194-9985-FB85F8732F58}" srcId="{93E6BB5E-DE0A-416D-B22C-288E501B8BEC}" destId="{650733C7-83CE-484C-B820-5F35BA8A2B56}" srcOrd="0" destOrd="0" parTransId="{193D2135-F70F-496F-AF14-4BA74CAF2A59}" sibTransId="{65E12C37-7578-4BDA-B34D-6637E7E659A8}"/>
    <dgm:cxn modelId="{F8BB9C33-9F35-457E-B7CB-5C93402EA824}" type="presOf" srcId="{93E6BB5E-DE0A-416D-B22C-288E501B8BEC}" destId="{44BA10AD-E430-4935-80FC-CBAB25CF2FB8}" srcOrd="0" destOrd="0" presId="urn:microsoft.com/office/officeart/2005/8/layout/vList2"/>
    <dgm:cxn modelId="{331C626F-28CD-46A8-AA9D-7FB27542102C}" srcId="{93E6BB5E-DE0A-416D-B22C-288E501B8BEC}" destId="{0AFAB379-F8EE-4B57-8C7B-3AAB4A9A5460}" srcOrd="1" destOrd="0" parTransId="{540E3AE2-EE9B-4198-8C4F-080F969E5FD5}" sibTransId="{AF47DEE0-8B99-4ACF-86C2-5101EB2D84D6}"/>
    <dgm:cxn modelId="{F5F71970-C23D-4C70-B257-9E9114445DAE}" type="presOf" srcId="{E7884964-A33C-41DC-8855-8473ED6F3025}" destId="{A80CE770-6EF5-4476-B603-24C453019235}" srcOrd="0" destOrd="0" presId="urn:microsoft.com/office/officeart/2005/8/layout/vList2"/>
    <dgm:cxn modelId="{6C5D067A-A5F2-410D-8903-C5C4638154FF}" srcId="{93E6BB5E-DE0A-416D-B22C-288E501B8BEC}" destId="{E7884964-A33C-41DC-8855-8473ED6F3025}" srcOrd="4" destOrd="0" parTransId="{1341F732-415A-4886-8916-D1CBC9388D93}" sibTransId="{55C7DC68-8803-4C99-9FEB-CD5339E162E7}"/>
    <dgm:cxn modelId="{12B84C83-6E6F-4F93-B836-B87652DE64DF}" type="presOf" srcId="{4175AB52-7183-4BA8-922E-7FC20D4E585A}" destId="{86B1EE22-7404-4D82-9598-047F608C0404}" srcOrd="0" destOrd="0" presId="urn:microsoft.com/office/officeart/2005/8/layout/vList2"/>
    <dgm:cxn modelId="{33D35D84-929C-4E15-A860-365AA889FC47}" srcId="{93E6BB5E-DE0A-416D-B22C-288E501B8BEC}" destId="{4B518E45-6178-4880-A0C2-35C30EFBA29C}" srcOrd="2" destOrd="0" parTransId="{2D7398C9-2172-47E5-A368-4F4FFD1354E7}" sibTransId="{142BA9F5-4EEB-4E8B-B382-567CACDA4B64}"/>
    <dgm:cxn modelId="{07750AC5-D0FC-4E1B-9AD5-D7F416F9A091}" type="presOf" srcId="{650733C7-83CE-484C-B820-5F35BA8A2B56}" destId="{82B90C0F-8546-40EC-955C-8E30C8FA0D29}" srcOrd="0" destOrd="0" presId="urn:microsoft.com/office/officeart/2005/8/layout/vList2"/>
    <dgm:cxn modelId="{5317D1E8-F5B8-4E07-8EAB-A56BD840A871}" type="presOf" srcId="{0AFAB379-F8EE-4B57-8C7B-3AAB4A9A5460}" destId="{D4F96D99-37BD-481E-BB4A-A5B6CDCAF097}" srcOrd="0" destOrd="0" presId="urn:microsoft.com/office/officeart/2005/8/layout/vList2"/>
    <dgm:cxn modelId="{F39AC1F5-DB49-43E7-BC2A-4E15B3E70D39}" type="presOf" srcId="{4B518E45-6178-4880-A0C2-35C30EFBA29C}" destId="{FDCC5EB3-5440-4D22-8B0E-23E0348BED7D}" srcOrd="0" destOrd="0" presId="urn:microsoft.com/office/officeart/2005/8/layout/vList2"/>
    <dgm:cxn modelId="{78388C29-2E7F-4A2C-A89C-AB4EDDA3BC72}" type="presParOf" srcId="{44BA10AD-E430-4935-80FC-CBAB25CF2FB8}" destId="{82B90C0F-8546-40EC-955C-8E30C8FA0D29}" srcOrd="0" destOrd="0" presId="urn:microsoft.com/office/officeart/2005/8/layout/vList2"/>
    <dgm:cxn modelId="{57FED187-5030-456A-81AC-9265544E4C84}" type="presParOf" srcId="{44BA10AD-E430-4935-80FC-CBAB25CF2FB8}" destId="{5F61DF50-C8E8-48B6-8D8E-DE8731C9CC3B}" srcOrd="1" destOrd="0" presId="urn:microsoft.com/office/officeart/2005/8/layout/vList2"/>
    <dgm:cxn modelId="{EE9BF9A5-0923-4CCF-8964-6917B7A0B023}" type="presParOf" srcId="{44BA10AD-E430-4935-80FC-CBAB25CF2FB8}" destId="{D4F96D99-37BD-481E-BB4A-A5B6CDCAF097}" srcOrd="2" destOrd="0" presId="urn:microsoft.com/office/officeart/2005/8/layout/vList2"/>
    <dgm:cxn modelId="{A00B6715-E1A9-4C92-A73A-F02D2C5A9961}" type="presParOf" srcId="{44BA10AD-E430-4935-80FC-CBAB25CF2FB8}" destId="{B6EAE6AC-65D4-4B79-867A-8B333E46A6BF}" srcOrd="3" destOrd="0" presId="urn:microsoft.com/office/officeart/2005/8/layout/vList2"/>
    <dgm:cxn modelId="{EEB12AEF-6833-4A57-A7C0-0C8C98646C7A}" type="presParOf" srcId="{44BA10AD-E430-4935-80FC-CBAB25CF2FB8}" destId="{FDCC5EB3-5440-4D22-8B0E-23E0348BED7D}" srcOrd="4" destOrd="0" presId="urn:microsoft.com/office/officeart/2005/8/layout/vList2"/>
    <dgm:cxn modelId="{A88B58BF-A4CF-4CD7-B333-2E5341208461}" type="presParOf" srcId="{44BA10AD-E430-4935-80FC-CBAB25CF2FB8}" destId="{0C37CC7E-8A24-4766-8B7F-3FCAF4363FCF}" srcOrd="5" destOrd="0" presId="urn:microsoft.com/office/officeart/2005/8/layout/vList2"/>
    <dgm:cxn modelId="{59D61908-9D10-42C4-90E0-8E0B2BA58700}" type="presParOf" srcId="{44BA10AD-E430-4935-80FC-CBAB25CF2FB8}" destId="{86B1EE22-7404-4D82-9598-047F608C0404}" srcOrd="6" destOrd="0" presId="urn:microsoft.com/office/officeart/2005/8/layout/vList2"/>
    <dgm:cxn modelId="{85D2BCAB-6280-4DB2-93D8-8434D8F05477}" type="presParOf" srcId="{44BA10AD-E430-4935-80FC-CBAB25CF2FB8}" destId="{8D9A2D72-3696-440B-A3BD-6395EB367D6D}" srcOrd="7" destOrd="0" presId="urn:microsoft.com/office/officeart/2005/8/layout/vList2"/>
    <dgm:cxn modelId="{FD88516C-4CAB-40E3-A636-5605B4A0C99B}" type="presParOf" srcId="{44BA10AD-E430-4935-80FC-CBAB25CF2FB8}" destId="{A80CE770-6EF5-4476-B603-24C453019235}"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E7A7BD1-2669-4DAD-84D8-BB18ED0617FB}"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en-US"/>
        </a:p>
      </dgm:t>
    </dgm:pt>
    <dgm:pt modelId="{E806BF80-08AC-41F4-93E9-AF09A6DD74DB}">
      <dgm:prSet phldrT="[Text]" custT="1"/>
      <dgm:spPr/>
      <dgm:t>
        <a:bodyPr/>
        <a:lstStyle/>
        <a:p>
          <a:r>
            <a:rPr lang="en-US" sz="3600" b="1" i="1">
              <a:latin typeface="Tw Cen MT" panose="020B0602020104020603" pitchFamily="34" charset="0"/>
            </a:rPr>
            <a:t>Paso Uno</a:t>
          </a:r>
        </a:p>
      </dgm:t>
    </dgm:pt>
    <dgm:pt modelId="{8B909DC2-8EC0-461B-A7E6-3258FB32B0A3}" type="parTrans" cxnId="{E8957C36-5315-4A13-8DF1-1659020D746B}">
      <dgm:prSet/>
      <dgm:spPr/>
      <dgm:t>
        <a:bodyPr/>
        <a:lstStyle/>
        <a:p>
          <a:endParaRPr lang="en-US"/>
        </a:p>
      </dgm:t>
    </dgm:pt>
    <dgm:pt modelId="{B09CE747-DB44-4FB4-B3DB-C29B1AA522C2}" type="sibTrans" cxnId="{E8957C36-5315-4A13-8DF1-1659020D746B}">
      <dgm:prSet/>
      <dgm:spPr/>
      <dgm:t>
        <a:bodyPr/>
        <a:lstStyle/>
        <a:p>
          <a:endParaRPr lang="en-US"/>
        </a:p>
      </dgm:t>
    </dgm:pt>
    <dgm:pt modelId="{7018BFCE-3151-4EFD-A920-CD6FF3DEB587}">
      <dgm:prSet phldrT="[Text]" custT="1"/>
      <dgm:spPr/>
      <dgm:t>
        <a:bodyPr/>
        <a:lstStyle/>
        <a:p>
          <a:r>
            <a:rPr lang="en-US" sz="2000" err="1">
              <a:solidFill>
                <a:srgbClr val="02060A"/>
              </a:solidFill>
              <a:latin typeface="Tw Cen MT" panose="020B0602020104020603" pitchFamily="34" charset="0"/>
            </a:rPr>
            <a:t>Inscripción</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automática</a:t>
          </a:r>
          <a:r>
            <a:rPr lang="en-US" sz="2000">
              <a:solidFill>
                <a:srgbClr val="02060A"/>
              </a:solidFill>
              <a:latin typeface="Tw Cen MT" panose="020B0602020104020603" pitchFamily="34" charset="0"/>
            </a:rPr>
            <a:t> para </a:t>
          </a:r>
          <a:r>
            <a:rPr lang="en-US" sz="2000" err="1">
              <a:solidFill>
                <a:srgbClr val="02060A"/>
              </a:solidFill>
              <a:latin typeface="Tw Cen MT" panose="020B0602020104020603" pitchFamily="34" charset="0"/>
            </a:rPr>
            <a:t>estudiantes</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elegibles</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en</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escuelas</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publicas</a:t>
          </a:r>
          <a:r>
            <a:rPr lang="en-US" sz="2000">
              <a:solidFill>
                <a:srgbClr val="02060A"/>
              </a:solidFill>
              <a:latin typeface="Tw Cen MT" panose="020B0602020104020603" pitchFamily="34" charset="0"/>
            </a:rPr>
            <a:t>.</a:t>
          </a:r>
        </a:p>
      </dgm:t>
    </dgm:pt>
    <dgm:pt modelId="{9578FC2F-F2D1-4B14-A30F-B4E9108E83ED}" type="parTrans" cxnId="{7AAB669C-1575-40AF-81CC-8F8D664AF5DE}">
      <dgm:prSet/>
      <dgm:spPr/>
      <dgm:t>
        <a:bodyPr/>
        <a:lstStyle/>
        <a:p>
          <a:endParaRPr lang="en-US"/>
        </a:p>
      </dgm:t>
    </dgm:pt>
    <dgm:pt modelId="{206A5549-230A-4412-8F54-47EC706AE619}" type="sibTrans" cxnId="{7AAB669C-1575-40AF-81CC-8F8D664AF5DE}">
      <dgm:prSet/>
      <dgm:spPr/>
      <dgm:t>
        <a:bodyPr/>
        <a:lstStyle/>
        <a:p>
          <a:endParaRPr lang="en-US"/>
        </a:p>
      </dgm:t>
    </dgm:pt>
    <dgm:pt modelId="{3915B093-F4FC-429D-A5C7-91FB2B86F067}">
      <dgm:prSet phldrT="[Text]" custT="1"/>
      <dgm:spPr/>
      <dgm:t>
        <a:bodyPr/>
        <a:lstStyle/>
        <a:p>
          <a:r>
            <a:rPr lang="en-US" sz="3600" b="1" i="1">
              <a:latin typeface="Tw Cen MT" panose="020B0602020104020603" pitchFamily="34" charset="0"/>
            </a:rPr>
            <a:t>Paso Dos</a:t>
          </a:r>
        </a:p>
      </dgm:t>
    </dgm:pt>
    <dgm:pt modelId="{C0D3B505-ED2E-442E-A6BF-4790C1540D7E}" type="parTrans" cxnId="{EB656E28-9CBD-49D7-B40C-DEDA9FCE939A}">
      <dgm:prSet/>
      <dgm:spPr/>
      <dgm:t>
        <a:bodyPr/>
        <a:lstStyle/>
        <a:p>
          <a:endParaRPr lang="en-US"/>
        </a:p>
      </dgm:t>
    </dgm:pt>
    <dgm:pt modelId="{43AC0386-2EA6-4CD0-9019-70802BAD4546}" type="sibTrans" cxnId="{EB656E28-9CBD-49D7-B40C-DEDA9FCE939A}">
      <dgm:prSet/>
      <dgm:spPr/>
      <dgm:t>
        <a:bodyPr/>
        <a:lstStyle/>
        <a:p>
          <a:endParaRPr lang="en-US"/>
        </a:p>
      </dgm:t>
    </dgm:pt>
    <dgm:pt modelId="{2E14FACA-E58C-43A7-BD47-7B22009400DF}">
      <dgm:prSet phldrT="[Text]" custT="1"/>
      <dgm:spPr/>
      <dgm:t>
        <a:bodyPr/>
        <a:lstStyle/>
        <a:p>
          <a:r>
            <a:rPr lang="en-US" sz="1800" err="1">
              <a:solidFill>
                <a:srgbClr val="02060A"/>
              </a:solidFill>
              <a:latin typeface="Tw Cen MT" panose="020B0602020104020603" pitchFamily="34" charset="0"/>
            </a:rPr>
            <a:t>Cumplir</a:t>
          </a:r>
          <a:r>
            <a:rPr lang="en-US" sz="1800">
              <a:solidFill>
                <a:srgbClr val="02060A"/>
              </a:solidFill>
              <a:latin typeface="Tw Cen MT" panose="020B0602020104020603" pitchFamily="34" charset="0"/>
            </a:rPr>
            <a:t> con </a:t>
          </a:r>
          <a:r>
            <a:rPr lang="en-US" sz="1800" err="1">
              <a:solidFill>
                <a:srgbClr val="02060A"/>
              </a:solidFill>
              <a:latin typeface="Tw Cen MT" panose="020B0602020104020603" pitchFamily="34" charset="0"/>
            </a:rPr>
            <a:t>los</a:t>
          </a:r>
          <a:r>
            <a:rPr lang="en-US" sz="1800">
              <a:solidFill>
                <a:srgbClr val="02060A"/>
              </a:solidFill>
              <a:latin typeface="Tw Cen MT" panose="020B0602020104020603" pitchFamily="34" charset="0"/>
            </a:rPr>
            <a:t> </a:t>
          </a:r>
          <a:r>
            <a:rPr lang="en-US" sz="1800" err="1">
              <a:solidFill>
                <a:srgbClr val="02060A"/>
              </a:solidFill>
              <a:latin typeface="Tw Cen MT" panose="020B0602020104020603" pitchFamily="34" charset="0"/>
            </a:rPr>
            <a:t>compromisos</a:t>
          </a:r>
          <a:r>
            <a:rPr lang="en-US" sz="1800">
              <a:solidFill>
                <a:srgbClr val="02060A"/>
              </a:solidFill>
              <a:latin typeface="Tw Cen MT" panose="020B0602020104020603" pitchFamily="34" charset="0"/>
            </a:rPr>
            <a:t> de la </a:t>
          </a:r>
          <a:r>
            <a:rPr lang="en-US" sz="1800" err="1">
              <a:solidFill>
                <a:srgbClr val="02060A"/>
              </a:solidFill>
              <a:latin typeface="Tw Cen MT" panose="020B0602020104020603" pitchFamily="34" charset="0"/>
            </a:rPr>
            <a:t>beca</a:t>
          </a:r>
          <a:r>
            <a:rPr lang="en-US" sz="1800">
              <a:solidFill>
                <a:srgbClr val="02060A"/>
              </a:solidFill>
              <a:latin typeface="Tw Cen MT" panose="020B0602020104020603" pitchFamily="34" charset="0"/>
            </a:rPr>
            <a:t> College Bound.</a:t>
          </a:r>
        </a:p>
      </dgm:t>
    </dgm:pt>
    <dgm:pt modelId="{B7103FD7-EE87-4028-97E2-B8399C47031C}" type="parTrans" cxnId="{C88789D8-E87A-43FC-9E4F-56E9E7AEDC67}">
      <dgm:prSet/>
      <dgm:spPr/>
      <dgm:t>
        <a:bodyPr/>
        <a:lstStyle/>
        <a:p>
          <a:endParaRPr lang="en-US"/>
        </a:p>
      </dgm:t>
    </dgm:pt>
    <dgm:pt modelId="{9755DFE8-4A95-432C-83B3-8B51978DEFE1}" type="sibTrans" cxnId="{C88789D8-E87A-43FC-9E4F-56E9E7AEDC67}">
      <dgm:prSet/>
      <dgm:spPr/>
      <dgm:t>
        <a:bodyPr/>
        <a:lstStyle/>
        <a:p>
          <a:endParaRPr lang="en-US"/>
        </a:p>
      </dgm:t>
    </dgm:pt>
    <dgm:pt modelId="{8555AF0B-D7F7-4103-9E06-D22A873DF252}">
      <dgm:prSet phldrT="[Text]" custT="1"/>
      <dgm:spPr/>
      <dgm:t>
        <a:bodyPr/>
        <a:lstStyle/>
        <a:p>
          <a:r>
            <a:rPr lang="en-US" sz="2000">
              <a:solidFill>
                <a:srgbClr val="02060A"/>
              </a:solidFill>
              <a:latin typeface="Tw Cen MT" panose="020B0602020104020603" pitchFamily="34" charset="0"/>
            </a:rPr>
            <a:t>Eligible para </a:t>
          </a:r>
          <a:r>
            <a:rPr lang="en-US" sz="2000" err="1">
              <a:solidFill>
                <a:srgbClr val="02060A"/>
              </a:solidFill>
              <a:latin typeface="Tw Cen MT" panose="020B0602020104020603" pitchFamily="34" charset="0"/>
            </a:rPr>
            <a:t>comidas</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gratuitas</a:t>
          </a:r>
          <a:r>
            <a:rPr lang="en-US" sz="2000">
              <a:solidFill>
                <a:srgbClr val="02060A"/>
              </a:solidFill>
              <a:latin typeface="Tw Cen MT" panose="020B0602020104020603" pitchFamily="34" charset="0"/>
            </a:rPr>
            <a:t> y de </a:t>
          </a:r>
          <a:r>
            <a:rPr lang="en-US" sz="2000" err="1">
              <a:solidFill>
                <a:srgbClr val="02060A"/>
              </a:solidFill>
              <a:latin typeface="Tw Cen MT" panose="020B0602020104020603" pitchFamily="34" charset="0"/>
            </a:rPr>
            <a:t>precio</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reducido</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en</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los</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grado</a:t>
          </a:r>
          <a:r>
            <a:rPr lang="en-US" sz="2000">
              <a:solidFill>
                <a:srgbClr val="02060A"/>
              </a:solidFill>
              <a:latin typeface="Tw Cen MT" panose="020B0602020104020603" pitchFamily="34" charset="0"/>
            </a:rPr>
            <a:t> 7°y 8° o </a:t>
          </a:r>
          <a:r>
            <a:rPr lang="en-US" sz="2000" err="1">
              <a:solidFill>
                <a:srgbClr val="02060A"/>
              </a:solidFill>
              <a:latin typeface="Tw Cen MT" panose="020B0602020104020603" pitchFamily="34" charset="0"/>
            </a:rPr>
            <a:t>recien</a:t>
          </a:r>
          <a:r>
            <a:rPr lang="en-US" sz="2000">
              <a:solidFill>
                <a:srgbClr val="02060A"/>
              </a:solidFill>
              <a:latin typeface="Tw Cen MT" panose="020B0602020104020603" pitchFamily="34" charset="0"/>
            </a:rPr>
            <a:t> eligible </a:t>
          </a:r>
          <a:r>
            <a:rPr lang="en-US" sz="2000" err="1">
              <a:solidFill>
                <a:srgbClr val="02060A"/>
              </a:solidFill>
              <a:latin typeface="Tw Cen MT" panose="020B0602020104020603" pitchFamily="34" charset="0"/>
            </a:rPr>
            <a:t>en</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el</a:t>
          </a:r>
          <a:r>
            <a:rPr lang="en-US" sz="2000">
              <a:solidFill>
                <a:srgbClr val="02060A"/>
              </a:solidFill>
              <a:latin typeface="Tw Cen MT" panose="020B0602020104020603" pitchFamily="34" charset="0"/>
            </a:rPr>
            <a:t> </a:t>
          </a:r>
          <a:r>
            <a:rPr lang="en-US" sz="2000" err="1">
              <a:solidFill>
                <a:srgbClr val="02060A"/>
              </a:solidFill>
              <a:latin typeface="Tw Cen MT" panose="020B0602020104020603" pitchFamily="34" charset="0"/>
            </a:rPr>
            <a:t>grado</a:t>
          </a:r>
          <a:r>
            <a:rPr lang="en-US" sz="2000">
              <a:solidFill>
                <a:srgbClr val="02060A"/>
              </a:solidFill>
              <a:latin typeface="Tw Cen MT" panose="020B0602020104020603" pitchFamily="34" charset="0"/>
            </a:rPr>
            <a:t> 9°.  </a:t>
          </a:r>
        </a:p>
      </dgm:t>
    </dgm:pt>
    <dgm:pt modelId="{311C11AB-BA40-49E9-9A9A-8BE88A88723B}" type="parTrans" cxnId="{DE5C6467-3F7C-4325-893F-9091022A9CE3}">
      <dgm:prSet/>
      <dgm:spPr/>
      <dgm:t>
        <a:bodyPr/>
        <a:lstStyle/>
        <a:p>
          <a:endParaRPr lang="en-US"/>
        </a:p>
      </dgm:t>
    </dgm:pt>
    <dgm:pt modelId="{44C50C1C-1CC1-4E00-BB55-57B54145F78C}" type="sibTrans" cxnId="{DE5C6467-3F7C-4325-893F-9091022A9CE3}">
      <dgm:prSet/>
      <dgm:spPr/>
      <dgm:t>
        <a:bodyPr/>
        <a:lstStyle/>
        <a:p>
          <a:endParaRPr lang="en-US"/>
        </a:p>
      </dgm:t>
    </dgm:pt>
    <dgm:pt modelId="{5EBD846C-9ADE-4010-89CC-37574EDB1ADF}">
      <dgm:prSet phldrT="[Text]" custT="1"/>
      <dgm:spPr/>
      <dgm:t>
        <a:bodyPr/>
        <a:lstStyle/>
        <a:p>
          <a:r>
            <a:rPr lang="en-US" sz="1800">
              <a:solidFill>
                <a:srgbClr val="02060A"/>
              </a:solidFill>
              <a:latin typeface="Tw Cen MT" panose="020B0602020104020603" pitchFamily="34" charset="0"/>
            </a:rPr>
            <a:t>Ser </a:t>
          </a:r>
          <a:r>
            <a:rPr lang="en-US" sz="1800" err="1">
              <a:solidFill>
                <a:srgbClr val="02060A"/>
              </a:solidFill>
              <a:latin typeface="Tw Cen MT" panose="020B0602020104020603" pitchFamily="34" charset="0"/>
            </a:rPr>
            <a:t>acceptado</a:t>
          </a:r>
          <a:r>
            <a:rPr lang="en-US" sz="1800">
              <a:solidFill>
                <a:srgbClr val="02060A"/>
              </a:solidFill>
              <a:latin typeface="Tw Cen MT" panose="020B0602020104020603" pitchFamily="34" charset="0"/>
            </a:rPr>
            <a:t> y </a:t>
          </a:r>
          <a:r>
            <a:rPr lang="en-US" sz="1800" err="1">
              <a:solidFill>
                <a:srgbClr val="02060A"/>
              </a:solidFill>
              <a:latin typeface="Tw Cen MT" panose="020B0602020104020603" pitchFamily="34" charset="0"/>
            </a:rPr>
            <a:t>asistir</a:t>
          </a:r>
          <a:r>
            <a:rPr lang="en-US" sz="1800">
              <a:solidFill>
                <a:srgbClr val="02060A"/>
              </a:solidFill>
              <a:latin typeface="Tw Cen MT" panose="020B0602020104020603" pitchFamily="34" charset="0"/>
            </a:rPr>
            <a:t> a </a:t>
          </a:r>
          <a:r>
            <a:rPr lang="en-US" sz="1800" err="1">
              <a:solidFill>
                <a:srgbClr val="02060A"/>
              </a:solidFill>
              <a:latin typeface="Tw Cen MT" panose="020B0602020104020603" pitchFamily="34" charset="0"/>
            </a:rPr>
            <a:t>una</a:t>
          </a:r>
          <a:r>
            <a:rPr lang="en-US" sz="1800">
              <a:solidFill>
                <a:srgbClr val="02060A"/>
              </a:solidFill>
              <a:latin typeface="Tw Cen MT" panose="020B0602020104020603" pitchFamily="34" charset="0"/>
            </a:rPr>
            <a:t> </a:t>
          </a:r>
          <a:r>
            <a:rPr lang="en-US" sz="1800" err="1">
              <a:solidFill>
                <a:srgbClr val="02060A"/>
              </a:solidFill>
              <a:latin typeface="Tw Cen MT" panose="020B0602020104020603" pitchFamily="34" charset="0"/>
            </a:rPr>
            <a:t>universidad</a:t>
          </a:r>
          <a:r>
            <a:rPr lang="en-US" sz="1800">
              <a:solidFill>
                <a:srgbClr val="02060A"/>
              </a:solidFill>
              <a:latin typeface="Tw Cen MT" panose="020B0602020104020603" pitchFamily="34" charset="0"/>
            </a:rPr>
            <a:t> o colegio eligible. </a:t>
          </a:r>
        </a:p>
      </dgm:t>
    </dgm:pt>
    <dgm:pt modelId="{59AD4A52-42E5-458D-8624-D0B8C86AE04C}" type="parTrans" cxnId="{DDD27318-6A52-47C7-A54C-56B9A07B9E47}">
      <dgm:prSet/>
      <dgm:spPr/>
      <dgm:t>
        <a:bodyPr/>
        <a:lstStyle/>
        <a:p>
          <a:endParaRPr lang="en-US"/>
        </a:p>
      </dgm:t>
    </dgm:pt>
    <dgm:pt modelId="{616B2BE0-F203-4AB5-9132-0222281DD0B2}" type="sibTrans" cxnId="{DDD27318-6A52-47C7-A54C-56B9A07B9E47}">
      <dgm:prSet/>
      <dgm:spPr/>
      <dgm:t>
        <a:bodyPr/>
        <a:lstStyle/>
        <a:p>
          <a:endParaRPr lang="en-US"/>
        </a:p>
      </dgm:t>
    </dgm:pt>
    <dgm:pt modelId="{FC61C54A-7C8A-4E0F-B711-9B88B5D73EFA}">
      <dgm:prSet phldrT="[Text]" custT="1"/>
      <dgm:spPr/>
      <dgm:t>
        <a:bodyPr/>
        <a:lstStyle/>
        <a:p>
          <a:r>
            <a:rPr lang="es-ES" sz="2000">
              <a:solidFill>
                <a:srgbClr val="02060A"/>
              </a:solidFill>
              <a:latin typeface="Tw Cen MT" panose="020B0602020104020603" pitchFamily="34" charset="0"/>
            </a:rPr>
            <a:t>Los jóvenes de crianza (Foster Care </a:t>
          </a:r>
          <a:r>
            <a:rPr lang="es-ES" sz="2000" err="1">
              <a:solidFill>
                <a:srgbClr val="02060A"/>
              </a:solidFill>
              <a:latin typeface="Tw Cen MT" panose="020B0602020104020603" pitchFamily="34" charset="0"/>
            </a:rPr>
            <a:t>Youth</a:t>
          </a:r>
          <a:r>
            <a:rPr lang="es-ES" sz="2000">
              <a:solidFill>
                <a:srgbClr val="02060A"/>
              </a:solidFill>
              <a:latin typeface="Tw Cen MT" panose="020B0602020104020603" pitchFamily="34" charset="0"/>
            </a:rPr>
            <a:t>) son inscritos automáticamente hasta la graduación de la preparatoria.</a:t>
          </a:r>
          <a:endParaRPr lang="en-US" sz="2000">
            <a:solidFill>
              <a:srgbClr val="02060A"/>
            </a:solidFill>
            <a:latin typeface="Tw Cen MT" panose="020B0602020104020603" pitchFamily="34" charset="0"/>
          </a:endParaRPr>
        </a:p>
      </dgm:t>
    </dgm:pt>
    <dgm:pt modelId="{57DA2082-5BE1-4922-B0D3-AE82E8498670}" type="parTrans" cxnId="{9C1AAB20-6E0A-45A9-B4C1-56087B76D1F1}">
      <dgm:prSet/>
      <dgm:spPr/>
      <dgm:t>
        <a:bodyPr/>
        <a:lstStyle/>
        <a:p>
          <a:endParaRPr lang="en-US"/>
        </a:p>
      </dgm:t>
    </dgm:pt>
    <dgm:pt modelId="{2FA6C4BC-A2B1-4731-981B-065DAF9456F3}" type="sibTrans" cxnId="{9C1AAB20-6E0A-45A9-B4C1-56087B76D1F1}">
      <dgm:prSet/>
      <dgm:spPr/>
      <dgm:t>
        <a:bodyPr/>
        <a:lstStyle/>
        <a:p>
          <a:endParaRPr lang="en-US"/>
        </a:p>
      </dgm:t>
    </dgm:pt>
    <dgm:pt modelId="{1441BEE7-C2EC-45F4-B7FE-980AB8189242}">
      <dgm:prSet phldrT="[Text]" custT="1"/>
      <dgm:spPr/>
      <dgm:t>
        <a:bodyPr/>
        <a:lstStyle/>
        <a:p>
          <a:r>
            <a:rPr lang="en-US" sz="1800" err="1">
              <a:solidFill>
                <a:srgbClr val="02060A"/>
              </a:solidFill>
              <a:latin typeface="Tw Cen MT" panose="020B0602020104020603" pitchFamily="34" charset="0"/>
            </a:rPr>
            <a:t>Cumplir</a:t>
          </a:r>
          <a:r>
            <a:rPr lang="en-US" sz="1800">
              <a:solidFill>
                <a:srgbClr val="02060A"/>
              </a:solidFill>
              <a:latin typeface="Tw Cen MT" panose="020B0602020104020603" pitchFamily="34" charset="0"/>
            </a:rPr>
            <a:t> con </a:t>
          </a:r>
          <a:r>
            <a:rPr lang="en-US" sz="1800" err="1">
              <a:solidFill>
                <a:srgbClr val="02060A"/>
              </a:solidFill>
              <a:latin typeface="Tw Cen MT" panose="020B0602020104020603" pitchFamily="34" charset="0"/>
            </a:rPr>
            <a:t>los</a:t>
          </a:r>
          <a:r>
            <a:rPr lang="en-US" sz="1800">
              <a:solidFill>
                <a:srgbClr val="02060A"/>
              </a:solidFill>
              <a:latin typeface="Tw Cen MT" panose="020B0602020104020603" pitchFamily="34" charset="0"/>
            </a:rPr>
            <a:t> requisites de </a:t>
          </a:r>
          <a:r>
            <a:rPr lang="en-US" sz="1800" err="1">
              <a:solidFill>
                <a:srgbClr val="02060A"/>
              </a:solidFill>
              <a:latin typeface="Tw Cen MT" panose="020B0602020104020603" pitchFamily="34" charset="0"/>
            </a:rPr>
            <a:t>ingreso</a:t>
          </a:r>
          <a:r>
            <a:rPr lang="en-US" sz="1800">
              <a:solidFill>
                <a:srgbClr val="02060A"/>
              </a:solidFill>
              <a:latin typeface="Tw Cen MT" panose="020B0602020104020603" pitchFamily="34" charset="0"/>
            </a:rPr>
            <a:t> y residencia.</a:t>
          </a:r>
        </a:p>
      </dgm:t>
    </dgm:pt>
    <dgm:pt modelId="{5E971452-01A7-4DA6-A46C-7DECF40A33D3}" type="parTrans" cxnId="{095FE591-166A-4089-96E6-9205AEB031C0}">
      <dgm:prSet/>
      <dgm:spPr/>
      <dgm:t>
        <a:bodyPr/>
        <a:lstStyle/>
        <a:p>
          <a:endParaRPr lang="en-US"/>
        </a:p>
      </dgm:t>
    </dgm:pt>
    <dgm:pt modelId="{9A1798CC-0497-4FE1-B2F6-4611FBC72AC2}" type="sibTrans" cxnId="{095FE591-166A-4089-96E6-9205AEB031C0}">
      <dgm:prSet/>
      <dgm:spPr/>
      <dgm:t>
        <a:bodyPr/>
        <a:lstStyle/>
        <a:p>
          <a:endParaRPr lang="en-US"/>
        </a:p>
      </dgm:t>
    </dgm:pt>
    <dgm:pt modelId="{C77056A4-1647-4D60-A607-D16377620FE5}" type="pres">
      <dgm:prSet presAssocID="{4E7A7BD1-2669-4DAD-84D8-BB18ED0617FB}" presName="linearFlow" presStyleCnt="0">
        <dgm:presLayoutVars>
          <dgm:dir/>
          <dgm:animLvl val="lvl"/>
          <dgm:resizeHandles val="exact"/>
        </dgm:presLayoutVars>
      </dgm:prSet>
      <dgm:spPr/>
    </dgm:pt>
    <dgm:pt modelId="{093D2648-55EB-41C4-8CC3-575E6D5BCA2C}" type="pres">
      <dgm:prSet presAssocID="{E806BF80-08AC-41F4-93E9-AF09A6DD74DB}" presName="composite" presStyleCnt="0"/>
      <dgm:spPr/>
    </dgm:pt>
    <dgm:pt modelId="{34951870-DE78-464D-AF97-F751AB1ABDFE}" type="pres">
      <dgm:prSet presAssocID="{E806BF80-08AC-41F4-93E9-AF09A6DD74DB}" presName="parTx" presStyleLbl="node1" presStyleIdx="0" presStyleCnt="2">
        <dgm:presLayoutVars>
          <dgm:chMax val="0"/>
          <dgm:chPref val="0"/>
          <dgm:bulletEnabled val="1"/>
        </dgm:presLayoutVars>
      </dgm:prSet>
      <dgm:spPr/>
    </dgm:pt>
    <dgm:pt modelId="{30450EA1-9FBD-453D-ACC2-A772BA55C55C}" type="pres">
      <dgm:prSet presAssocID="{E806BF80-08AC-41F4-93E9-AF09A6DD74DB}" presName="parSh" presStyleLbl="node1" presStyleIdx="0" presStyleCnt="2" custLinFactNeighborX="1589" custLinFactNeighborY="-45034"/>
      <dgm:spPr/>
    </dgm:pt>
    <dgm:pt modelId="{D42AD493-D081-4404-AEFE-F056A8EB8991}" type="pres">
      <dgm:prSet presAssocID="{E806BF80-08AC-41F4-93E9-AF09A6DD74DB}" presName="desTx" presStyleLbl="fgAcc1" presStyleIdx="0" presStyleCnt="2" custScaleX="102871" custScaleY="99327" custLinFactNeighborX="3195" custLinFactNeighborY="-3052">
        <dgm:presLayoutVars>
          <dgm:bulletEnabled val="1"/>
        </dgm:presLayoutVars>
      </dgm:prSet>
      <dgm:spPr/>
    </dgm:pt>
    <dgm:pt modelId="{E82F2CE7-4C1A-497F-BB88-DEF090CAF98F}" type="pres">
      <dgm:prSet presAssocID="{B09CE747-DB44-4FB4-B3DB-C29B1AA522C2}" presName="sibTrans" presStyleLbl="sibTrans2D1" presStyleIdx="0" presStyleCnt="1"/>
      <dgm:spPr/>
    </dgm:pt>
    <dgm:pt modelId="{4E3C75DC-88B3-469D-975A-B989B6525DF2}" type="pres">
      <dgm:prSet presAssocID="{B09CE747-DB44-4FB4-B3DB-C29B1AA522C2}" presName="connTx" presStyleLbl="sibTrans2D1" presStyleIdx="0" presStyleCnt="1"/>
      <dgm:spPr/>
    </dgm:pt>
    <dgm:pt modelId="{6C632361-738A-4773-8A86-22BEB0772521}" type="pres">
      <dgm:prSet presAssocID="{3915B093-F4FC-429D-A5C7-91FB2B86F067}" presName="composite" presStyleCnt="0"/>
      <dgm:spPr/>
    </dgm:pt>
    <dgm:pt modelId="{8A3E37A2-0E8D-4D1B-9DE7-5232BB4AB5D6}" type="pres">
      <dgm:prSet presAssocID="{3915B093-F4FC-429D-A5C7-91FB2B86F067}" presName="parTx" presStyleLbl="node1" presStyleIdx="0" presStyleCnt="2">
        <dgm:presLayoutVars>
          <dgm:chMax val="0"/>
          <dgm:chPref val="0"/>
          <dgm:bulletEnabled val="1"/>
        </dgm:presLayoutVars>
      </dgm:prSet>
      <dgm:spPr/>
    </dgm:pt>
    <dgm:pt modelId="{40E1B13B-2A28-4B8C-A623-EDD296FBB21D}" type="pres">
      <dgm:prSet presAssocID="{3915B093-F4FC-429D-A5C7-91FB2B86F067}" presName="parSh" presStyleLbl="node1" presStyleIdx="1" presStyleCnt="2" custLinFactNeighborY="-40199"/>
      <dgm:spPr/>
    </dgm:pt>
    <dgm:pt modelId="{9918773F-4A5D-45FF-B7C2-BFD1C22A9343}" type="pres">
      <dgm:prSet presAssocID="{3915B093-F4FC-429D-A5C7-91FB2B86F067}" presName="desTx" presStyleLbl="fgAcc1" presStyleIdx="1" presStyleCnt="2" custScaleX="100008" custScaleY="101833" custLinFactNeighborX="-6587" custLinFactNeighborY="-2345">
        <dgm:presLayoutVars>
          <dgm:bulletEnabled val="1"/>
        </dgm:presLayoutVars>
      </dgm:prSet>
      <dgm:spPr/>
    </dgm:pt>
  </dgm:ptLst>
  <dgm:cxnLst>
    <dgm:cxn modelId="{C41A3009-5CD0-4535-9D3C-AF1E6A3DC8F6}" type="presOf" srcId="{2E14FACA-E58C-43A7-BD47-7B22009400DF}" destId="{9918773F-4A5D-45FF-B7C2-BFD1C22A9343}" srcOrd="0" destOrd="0" presId="urn:microsoft.com/office/officeart/2005/8/layout/process3"/>
    <dgm:cxn modelId="{DDD27318-6A52-47C7-A54C-56B9A07B9E47}" srcId="{3915B093-F4FC-429D-A5C7-91FB2B86F067}" destId="{5EBD846C-9ADE-4010-89CC-37574EDB1ADF}" srcOrd="2" destOrd="0" parTransId="{59AD4A52-42E5-458D-8624-D0B8C86AE04C}" sibTransId="{616B2BE0-F203-4AB5-9132-0222281DD0B2}"/>
    <dgm:cxn modelId="{2221011F-4DE6-46D1-AB9F-82B59E4BB5E4}" type="presOf" srcId="{8555AF0B-D7F7-4103-9E06-D22A873DF252}" destId="{D42AD493-D081-4404-AEFE-F056A8EB8991}" srcOrd="0" destOrd="1" presId="urn:microsoft.com/office/officeart/2005/8/layout/process3"/>
    <dgm:cxn modelId="{9C1AAB20-6E0A-45A9-B4C1-56087B76D1F1}" srcId="{E806BF80-08AC-41F4-93E9-AF09A6DD74DB}" destId="{FC61C54A-7C8A-4E0F-B711-9B88B5D73EFA}" srcOrd="2" destOrd="0" parTransId="{57DA2082-5BE1-4922-B0D3-AE82E8498670}" sibTransId="{2FA6C4BC-A2B1-4731-981B-065DAF9456F3}"/>
    <dgm:cxn modelId="{EB656E28-9CBD-49D7-B40C-DEDA9FCE939A}" srcId="{4E7A7BD1-2669-4DAD-84D8-BB18ED0617FB}" destId="{3915B093-F4FC-429D-A5C7-91FB2B86F067}" srcOrd="1" destOrd="0" parTransId="{C0D3B505-ED2E-442E-A6BF-4790C1540D7E}" sibTransId="{43AC0386-2EA6-4CD0-9019-70802BAD4546}"/>
    <dgm:cxn modelId="{7522D035-928F-477E-93DF-AE153E2EA039}" type="presOf" srcId="{5EBD846C-9ADE-4010-89CC-37574EDB1ADF}" destId="{9918773F-4A5D-45FF-B7C2-BFD1C22A9343}" srcOrd="0" destOrd="2" presId="urn:microsoft.com/office/officeart/2005/8/layout/process3"/>
    <dgm:cxn modelId="{E8957C36-5315-4A13-8DF1-1659020D746B}" srcId="{4E7A7BD1-2669-4DAD-84D8-BB18ED0617FB}" destId="{E806BF80-08AC-41F4-93E9-AF09A6DD74DB}" srcOrd="0" destOrd="0" parTransId="{8B909DC2-8EC0-461B-A7E6-3258FB32B0A3}" sibTransId="{B09CE747-DB44-4FB4-B3DB-C29B1AA522C2}"/>
    <dgm:cxn modelId="{DE5C6467-3F7C-4325-893F-9091022A9CE3}" srcId="{E806BF80-08AC-41F4-93E9-AF09A6DD74DB}" destId="{8555AF0B-D7F7-4103-9E06-D22A873DF252}" srcOrd="1" destOrd="0" parTransId="{311C11AB-BA40-49E9-9A9A-8BE88A88723B}" sibTransId="{44C50C1C-1CC1-4E00-BB55-57B54145F78C}"/>
    <dgm:cxn modelId="{F544F868-48FE-4B8F-8D58-047A4282DD8C}" type="presOf" srcId="{FC61C54A-7C8A-4E0F-B711-9B88B5D73EFA}" destId="{D42AD493-D081-4404-AEFE-F056A8EB8991}" srcOrd="0" destOrd="2" presId="urn:microsoft.com/office/officeart/2005/8/layout/process3"/>
    <dgm:cxn modelId="{0DAFB94E-65C8-40F7-9DE3-003DB8CF8B98}" type="presOf" srcId="{1441BEE7-C2EC-45F4-B7FE-980AB8189242}" destId="{9918773F-4A5D-45FF-B7C2-BFD1C22A9343}" srcOrd="0" destOrd="1" presId="urn:microsoft.com/office/officeart/2005/8/layout/process3"/>
    <dgm:cxn modelId="{095FE591-166A-4089-96E6-9205AEB031C0}" srcId="{3915B093-F4FC-429D-A5C7-91FB2B86F067}" destId="{1441BEE7-C2EC-45F4-B7FE-980AB8189242}" srcOrd="1" destOrd="0" parTransId="{5E971452-01A7-4DA6-A46C-7DECF40A33D3}" sibTransId="{9A1798CC-0497-4FE1-B2F6-4611FBC72AC2}"/>
    <dgm:cxn modelId="{7AAB669C-1575-40AF-81CC-8F8D664AF5DE}" srcId="{E806BF80-08AC-41F4-93E9-AF09A6DD74DB}" destId="{7018BFCE-3151-4EFD-A920-CD6FF3DEB587}" srcOrd="0" destOrd="0" parTransId="{9578FC2F-F2D1-4B14-A30F-B4E9108E83ED}" sibTransId="{206A5549-230A-4412-8F54-47EC706AE619}"/>
    <dgm:cxn modelId="{6131749C-3066-45C3-9B93-287D7221DC9F}" type="presOf" srcId="{E806BF80-08AC-41F4-93E9-AF09A6DD74DB}" destId="{34951870-DE78-464D-AF97-F751AB1ABDFE}" srcOrd="0" destOrd="0" presId="urn:microsoft.com/office/officeart/2005/8/layout/process3"/>
    <dgm:cxn modelId="{5A7AA7A1-2BDD-4FCB-B8C2-C79BE83ECA3E}" type="presOf" srcId="{E806BF80-08AC-41F4-93E9-AF09A6DD74DB}" destId="{30450EA1-9FBD-453D-ACC2-A772BA55C55C}" srcOrd="1" destOrd="0" presId="urn:microsoft.com/office/officeart/2005/8/layout/process3"/>
    <dgm:cxn modelId="{DAC2B1A2-C3BD-4B03-AF2D-898083CC0AF0}" type="presOf" srcId="{4E7A7BD1-2669-4DAD-84D8-BB18ED0617FB}" destId="{C77056A4-1647-4D60-A607-D16377620FE5}" srcOrd="0" destOrd="0" presId="urn:microsoft.com/office/officeart/2005/8/layout/process3"/>
    <dgm:cxn modelId="{F637ADAD-2A1E-480B-9902-D62D356714BF}" type="presOf" srcId="{3915B093-F4FC-429D-A5C7-91FB2B86F067}" destId="{8A3E37A2-0E8D-4D1B-9DE7-5232BB4AB5D6}" srcOrd="0" destOrd="0" presId="urn:microsoft.com/office/officeart/2005/8/layout/process3"/>
    <dgm:cxn modelId="{801338B6-11E8-4305-9146-358FFC5DFBBA}" type="presOf" srcId="{B09CE747-DB44-4FB4-B3DB-C29B1AA522C2}" destId="{4E3C75DC-88B3-469D-975A-B989B6525DF2}" srcOrd="1" destOrd="0" presId="urn:microsoft.com/office/officeart/2005/8/layout/process3"/>
    <dgm:cxn modelId="{82FCB4CF-FA51-4B9C-B2FC-9CFB9FCC527F}" type="presOf" srcId="{7018BFCE-3151-4EFD-A920-CD6FF3DEB587}" destId="{D42AD493-D081-4404-AEFE-F056A8EB8991}" srcOrd="0" destOrd="0" presId="urn:microsoft.com/office/officeart/2005/8/layout/process3"/>
    <dgm:cxn modelId="{C88789D8-E87A-43FC-9E4F-56E9E7AEDC67}" srcId="{3915B093-F4FC-429D-A5C7-91FB2B86F067}" destId="{2E14FACA-E58C-43A7-BD47-7B22009400DF}" srcOrd="0" destOrd="0" parTransId="{B7103FD7-EE87-4028-97E2-B8399C47031C}" sibTransId="{9755DFE8-4A95-432C-83B3-8B51978DEFE1}"/>
    <dgm:cxn modelId="{203AC8DA-5F07-4D93-A97A-837058F9C18D}" type="presOf" srcId="{B09CE747-DB44-4FB4-B3DB-C29B1AA522C2}" destId="{E82F2CE7-4C1A-497F-BB88-DEF090CAF98F}" srcOrd="0" destOrd="0" presId="urn:microsoft.com/office/officeart/2005/8/layout/process3"/>
    <dgm:cxn modelId="{EE460BF7-E0D7-4FFD-A4C7-AA4A1D6EDA42}" type="presOf" srcId="{3915B093-F4FC-429D-A5C7-91FB2B86F067}" destId="{40E1B13B-2A28-4B8C-A623-EDD296FBB21D}" srcOrd="1" destOrd="0" presId="urn:microsoft.com/office/officeart/2005/8/layout/process3"/>
    <dgm:cxn modelId="{3659A763-E99A-480C-8345-C6DE26C6A656}" type="presParOf" srcId="{C77056A4-1647-4D60-A607-D16377620FE5}" destId="{093D2648-55EB-41C4-8CC3-575E6D5BCA2C}" srcOrd="0" destOrd="0" presId="urn:microsoft.com/office/officeart/2005/8/layout/process3"/>
    <dgm:cxn modelId="{6DB3032F-4C30-43D6-8FD3-798286F9F18B}" type="presParOf" srcId="{093D2648-55EB-41C4-8CC3-575E6D5BCA2C}" destId="{34951870-DE78-464D-AF97-F751AB1ABDFE}" srcOrd="0" destOrd="0" presId="urn:microsoft.com/office/officeart/2005/8/layout/process3"/>
    <dgm:cxn modelId="{E1268FC9-66EB-42F5-9D75-A48207395268}" type="presParOf" srcId="{093D2648-55EB-41C4-8CC3-575E6D5BCA2C}" destId="{30450EA1-9FBD-453D-ACC2-A772BA55C55C}" srcOrd="1" destOrd="0" presId="urn:microsoft.com/office/officeart/2005/8/layout/process3"/>
    <dgm:cxn modelId="{F12CE137-3478-46D0-A43B-1D5B6B182920}" type="presParOf" srcId="{093D2648-55EB-41C4-8CC3-575E6D5BCA2C}" destId="{D42AD493-D081-4404-AEFE-F056A8EB8991}" srcOrd="2" destOrd="0" presId="urn:microsoft.com/office/officeart/2005/8/layout/process3"/>
    <dgm:cxn modelId="{85B7363F-503C-402D-A3B8-098B2F0CF3F9}" type="presParOf" srcId="{C77056A4-1647-4D60-A607-D16377620FE5}" destId="{E82F2CE7-4C1A-497F-BB88-DEF090CAF98F}" srcOrd="1" destOrd="0" presId="urn:microsoft.com/office/officeart/2005/8/layout/process3"/>
    <dgm:cxn modelId="{243C8780-23A4-4246-8BBE-C0E19B5C7567}" type="presParOf" srcId="{E82F2CE7-4C1A-497F-BB88-DEF090CAF98F}" destId="{4E3C75DC-88B3-469D-975A-B989B6525DF2}" srcOrd="0" destOrd="0" presId="urn:microsoft.com/office/officeart/2005/8/layout/process3"/>
    <dgm:cxn modelId="{22C8393A-083B-43E4-8433-F54ED8185BA6}" type="presParOf" srcId="{C77056A4-1647-4D60-A607-D16377620FE5}" destId="{6C632361-738A-4773-8A86-22BEB0772521}" srcOrd="2" destOrd="0" presId="urn:microsoft.com/office/officeart/2005/8/layout/process3"/>
    <dgm:cxn modelId="{44FA8CC2-8394-4550-926E-749D28856412}" type="presParOf" srcId="{6C632361-738A-4773-8A86-22BEB0772521}" destId="{8A3E37A2-0E8D-4D1B-9DE7-5232BB4AB5D6}" srcOrd="0" destOrd="0" presId="urn:microsoft.com/office/officeart/2005/8/layout/process3"/>
    <dgm:cxn modelId="{9F4392C4-C04F-4F5A-99EF-287BD7DE02C4}" type="presParOf" srcId="{6C632361-738A-4773-8A86-22BEB0772521}" destId="{40E1B13B-2A28-4B8C-A623-EDD296FBB21D}" srcOrd="1" destOrd="0" presId="urn:microsoft.com/office/officeart/2005/8/layout/process3"/>
    <dgm:cxn modelId="{D1AC0418-6303-4753-A028-52CDE5D56C6D}" type="presParOf" srcId="{6C632361-738A-4773-8A86-22BEB0772521}" destId="{9918773F-4A5D-45FF-B7C2-BFD1C22A9343}"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222192-D453-4B4A-843F-4A72AC6E16A2}">
      <dsp:nvSpPr>
        <dsp:cNvPr id="0" name=""/>
        <dsp:cNvSpPr/>
      </dsp:nvSpPr>
      <dsp:spPr>
        <a:xfrm>
          <a:off x="0" y="459495"/>
          <a:ext cx="9601200" cy="5040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76C5EB5-E1AF-41B2-859B-EEED895DEA30}">
      <dsp:nvSpPr>
        <dsp:cNvPr id="0" name=""/>
        <dsp:cNvSpPr/>
      </dsp:nvSpPr>
      <dsp:spPr>
        <a:xfrm>
          <a:off x="457088" y="60851"/>
          <a:ext cx="9141758" cy="693843"/>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600200">
            <a:lnSpc>
              <a:spcPct val="90000"/>
            </a:lnSpc>
            <a:spcBef>
              <a:spcPct val="0"/>
            </a:spcBef>
            <a:spcAft>
              <a:spcPct val="35000"/>
            </a:spcAft>
            <a:buNone/>
          </a:pPr>
          <a:r>
            <a:rPr lang="en-US" sz="3600" kern="1200">
              <a:latin typeface="+mj-lt"/>
            </a:rPr>
            <a:t> </a:t>
          </a:r>
          <a:r>
            <a:rPr lang="en-US" sz="3200" kern="1200">
              <a:latin typeface="+mj-lt"/>
            </a:rPr>
            <a:t>Que es </a:t>
          </a:r>
          <a:r>
            <a:rPr lang="en-US" sz="3200" kern="1200" err="1">
              <a:latin typeface="+mj-lt"/>
            </a:rPr>
            <a:t>Ayuda</a:t>
          </a:r>
          <a:r>
            <a:rPr lang="en-US" sz="3200" kern="1200">
              <a:latin typeface="+mj-lt"/>
            </a:rPr>
            <a:t> </a:t>
          </a:r>
          <a:r>
            <a:rPr lang="en-US" sz="3200" kern="1200" err="1">
              <a:latin typeface="+mj-lt"/>
            </a:rPr>
            <a:t>Financiera</a:t>
          </a:r>
          <a:endParaRPr lang="en-US" sz="3200" kern="1200">
            <a:latin typeface="+mj-lt"/>
          </a:endParaRPr>
        </a:p>
      </dsp:txBody>
      <dsp:txXfrm>
        <a:off x="490959" y="94722"/>
        <a:ext cx="9074016" cy="626101"/>
      </dsp:txXfrm>
    </dsp:sp>
    <dsp:sp modelId="{B6B79D58-ACC4-43B5-B7D4-CB5B36EF88AD}">
      <dsp:nvSpPr>
        <dsp:cNvPr id="0" name=""/>
        <dsp:cNvSpPr/>
      </dsp:nvSpPr>
      <dsp:spPr>
        <a:xfrm>
          <a:off x="0" y="1366695"/>
          <a:ext cx="9601200" cy="5040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CD455F3-8D55-4B90-9AE0-9D7BAA7022B6}">
      <dsp:nvSpPr>
        <dsp:cNvPr id="0" name=""/>
        <dsp:cNvSpPr/>
      </dsp:nvSpPr>
      <dsp:spPr>
        <a:xfrm>
          <a:off x="457088" y="1071495"/>
          <a:ext cx="9141758" cy="59040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422400">
            <a:lnSpc>
              <a:spcPct val="90000"/>
            </a:lnSpc>
            <a:spcBef>
              <a:spcPct val="0"/>
            </a:spcBef>
            <a:spcAft>
              <a:spcPct val="35000"/>
            </a:spcAft>
            <a:buNone/>
          </a:pPr>
          <a:r>
            <a:rPr lang="en-US" sz="3200" kern="1200" err="1">
              <a:latin typeface="+mj-lt"/>
            </a:rPr>
            <a:t>Cuando</a:t>
          </a:r>
          <a:r>
            <a:rPr lang="en-US" sz="3200" kern="1200">
              <a:latin typeface="+mj-lt"/>
            </a:rPr>
            <a:t> Debo de </a:t>
          </a:r>
          <a:r>
            <a:rPr lang="en-US" sz="3200" kern="1200" err="1">
              <a:latin typeface="+mj-lt"/>
            </a:rPr>
            <a:t>Aplicar</a:t>
          </a:r>
          <a:r>
            <a:rPr lang="en-US" sz="3200" kern="1200">
              <a:latin typeface="+mj-lt"/>
            </a:rPr>
            <a:t> para la </a:t>
          </a:r>
          <a:r>
            <a:rPr lang="en-US" sz="3200" kern="1200" err="1">
              <a:latin typeface="+mj-lt"/>
            </a:rPr>
            <a:t>Ayuda</a:t>
          </a:r>
          <a:r>
            <a:rPr lang="en-US" sz="3200" kern="1200">
              <a:latin typeface="+mj-lt"/>
            </a:rPr>
            <a:t> </a:t>
          </a:r>
          <a:r>
            <a:rPr lang="en-US" sz="3200" kern="1200" err="1">
              <a:latin typeface="+mj-lt"/>
            </a:rPr>
            <a:t>Financiera</a:t>
          </a:r>
          <a:endParaRPr lang="en-US" sz="3200" kern="1200">
            <a:latin typeface="+mj-lt"/>
          </a:endParaRPr>
        </a:p>
      </dsp:txBody>
      <dsp:txXfrm>
        <a:off x="485909" y="1100316"/>
        <a:ext cx="9084116" cy="532758"/>
      </dsp:txXfrm>
    </dsp:sp>
    <dsp:sp modelId="{FC0D32A5-9D58-490E-A8D1-BE503E2D5B18}">
      <dsp:nvSpPr>
        <dsp:cNvPr id="0" name=""/>
        <dsp:cNvSpPr/>
      </dsp:nvSpPr>
      <dsp:spPr>
        <a:xfrm>
          <a:off x="0" y="2394814"/>
          <a:ext cx="9601200" cy="5040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9FDEF8-D7CD-427A-B285-EE879B8EA4D2}">
      <dsp:nvSpPr>
        <dsp:cNvPr id="0" name=""/>
        <dsp:cNvSpPr/>
      </dsp:nvSpPr>
      <dsp:spPr>
        <a:xfrm>
          <a:off x="457088" y="1978695"/>
          <a:ext cx="9141758" cy="71131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422400">
            <a:lnSpc>
              <a:spcPct val="90000"/>
            </a:lnSpc>
            <a:spcBef>
              <a:spcPct val="0"/>
            </a:spcBef>
            <a:spcAft>
              <a:spcPct val="35000"/>
            </a:spcAft>
            <a:buNone/>
          </a:pPr>
          <a:r>
            <a:rPr lang="en-US" sz="3200" kern="1200">
              <a:latin typeface="+mj-lt"/>
            </a:rPr>
            <a:t>Como </a:t>
          </a:r>
          <a:r>
            <a:rPr lang="en-US" sz="3200" kern="1200" err="1">
              <a:latin typeface="+mj-lt"/>
            </a:rPr>
            <a:t>Aplicar</a:t>
          </a:r>
          <a:r>
            <a:rPr lang="en-US" sz="3200" kern="1200">
              <a:latin typeface="+mj-lt"/>
            </a:rPr>
            <a:t> para la </a:t>
          </a:r>
          <a:r>
            <a:rPr lang="en-US" sz="3200" kern="1200" err="1">
              <a:latin typeface="+mj-lt"/>
            </a:rPr>
            <a:t>Ayuda</a:t>
          </a:r>
          <a:r>
            <a:rPr lang="en-US" sz="3200" kern="1200">
              <a:latin typeface="+mj-lt"/>
            </a:rPr>
            <a:t> </a:t>
          </a:r>
          <a:r>
            <a:rPr lang="en-US" sz="3200" kern="1200" err="1">
              <a:latin typeface="+mj-lt"/>
            </a:rPr>
            <a:t>Financiera</a:t>
          </a:r>
          <a:endParaRPr lang="en-US" sz="3200" kern="1200">
            <a:latin typeface="+mj-lt"/>
          </a:endParaRPr>
        </a:p>
      </dsp:txBody>
      <dsp:txXfrm>
        <a:off x="491812" y="2013419"/>
        <a:ext cx="9072310" cy="641871"/>
      </dsp:txXfrm>
    </dsp:sp>
    <dsp:sp modelId="{9103310C-A17C-4A08-8DB7-1B66388FB090}">
      <dsp:nvSpPr>
        <dsp:cNvPr id="0" name=""/>
        <dsp:cNvSpPr/>
      </dsp:nvSpPr>
      <dsp:spPr>
        <a:xfrm>
          <a:off x="0" y="3302014"/>
          <a:ext cx="9601200" cy="5040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65D3DDC-7096-4D3E-B5C0-86E4F1E8709D}">
      <dsp:nvSpPr>
        <dsp:cNvPr id="0" name=""/>
        <dsp:cNvSpPr/>
      </dsp:nvSpPr>
      <dsp:spPr>
        <a:xfrm>
          <a:off x="457088" y="3006814"/>
          <a:ext cx="9141758" cy="5904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422400">
            <a:lnSpc>
              <a:spcPct val="90000"/>
            </a:lnSpc>
            <a:spcBef>
              <a:spcPct val="0"/>
            </a:spcBef>
            <a:spcAft>
              <a:spcPct val="35000"/>
            </a:spcAft>
            <a:buNone/>
          </a:pPr>
          <a:r>
            <a:rPr lang="en-US" sz="3200" kern="1200" err="1">
              <a:latin typeface="+mj-lt"/>
            </a:rPr>
            <a:t>Becas</a:t>
          </a:r>
          <a:endParaRPr lang="en-US" sz="3200" kern="1200">
            <a:latin typeface="+mj-lt"/>
          </a:endParaRPr>
        </a:p>
      </dsp:txBody>
      <dsp:txXfrm>
        <a:off x="485909" y="3035635"/>
        <a:ext cx="9084116" cy="532758"/>
      </dsp:txXfrm>
    </dsp:sp>
    <dsp:sp modelId="{25A9FD29-E5A5-4594-BFD4-03E812FD8B45}">
      <dsp:nvSpPr>
        <dsp:cNvPr id="0" name=""/>
        <dsp:cNvSpPr/>
      </dsp:nvSpPr>
      <dsp:spPr>
        <a:xfrm>
          <a:off x="0" y="4209214"/>
          <a:ext cx="9601200" cy="504000"/>
        </a:xfrm>
        <a:prstGeom prst="rect">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DB71670-A409-4ABE-BE9F-5EEF94B7F966}">
      <dsp:nvSpPr>
        <dsp:cNvPr id="0" name=""/>
        <dsp:cNvSpPr/>
      </dsp:nvSpPr>
      <dsp:spPr>
        <a:xfrm>
          <a:off x="480060" y="3914014"/>
          <a:ext cx="6720840" cy="590400"/>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32" tIns="0" rIns="254032" bIns="0" numCol="1" spcCol="1270" anchor="ctr" anchorCtr="0">
          <a:noAutofit/>
        </a:bodyPr>
        <a:lstStyle/>
        <a:p>
          <a:pPr marL="0" lvl="0" indent="0" algn="l" defTabSz="1422400">
            <a:lnSpc>
              <a:spcPct val="90000"/>
            </a:lnSpc>
            <a:spcBef>
              <a:spcPct val="0"/>
            </a:spcBef>
            <a:spcAft>
              <a:spcPct val="35000"/>
            </a:spcAft>
            <a:buNone/>
          </a:pPr>
          <a:r>
            <a:rPr lang="en-US" sz="3200" kern="1200" err="1">
              <a:latin typeface="+mj-lt"/>
            </a:rPr>
            <a:t>Ayuda</a:t>
          </a:r>
          <a:r>
            <a:rPr lang="en-US" sz="3200" kern="1200">
              <a:latin typeface="+mj-lt"/>
            </a:rPr>
            <a:t> y </a:t>
          </a:r>
          <a:r>
            <a:rPr lang="en-US" sz="3200" kern="1200" err="1">
              <a:latin typeface="+mj-lt"/>
            </a:rPr>
            <a:t>Recursos</a:t>
          </a:r>
          <a:endParaRPr lang="en-US" sz="3200" kern="1200">
            <a:latin typeface="+mj-lt"/>
          </a:endParaRPr>
        </a:p>
      </dsp:txBody>
      <dsp:txXfrm>
        <a:off x="508881" y="3942835"/>
        <a:ext cx="6663198" cy="53275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A2DB17-2112-43FC-A132-9388CC70958C}">
      <dsp:nvSpPr>
        <dsp:cNvPr id="0" name=""/>
        <dsp:cNvSpPr/>
      </dsp:nvSpPr>
      <dsp:spPr>
        <a:xfrm>
          <a:off x="13954" y="0"/>
          <a:ext cx="7474707" cy="2334475"/>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s-ES" sz="2400" b="1" kern="1200">
              <a:latin typeface="Tw Cen MT" panose="020B0602020104020603" pitchFamily="34" charset="0"/>
            </a:rPr>
            <a:t>Se combina con otras ayudas financieras estatales para cubrir el costo promedio de la matrícula (a tarifas públicas), algunas tarifas y una pequeña asignación de libros = a compromiso.</a:t>
          </a:r>
          <a:endParaRPr lang="en-US" sz="2400" kern="1200">
            <a:latin typeface="Tw Cen MT" panose="020B0602020104020603" pitchFamily="34" charset="0"/>
          </a:endParaRPr>
        </a:p>
      </dsp:txBody>
      <dsp:txXfrm>
        <a:off x="1741475" y="0"/>
        <a:ext cx="5747186" cy="2334475"/>
      </dsp:txXfrm>
    </dsp:sp>
    <dsp:sp modelId="{3C518B8F-484F-482F-8D40-B5CAB51E65FE}">
      <dsp:nvSpPr>
        <dsp:cNvPr id="0" name=""/>
        <dsp:cNvSpPr/>
      </dsp:nvSpPr>
      <dsp:spPr>
        <a:xfrm>
          <a:off x="435462" y="724303"/>
          <a:ext cx="1096492" cy="885867"/>
        </a:xfrm>
        <a:prstGeom prst="roundRect">
          <a:avLst>
            <a:gd name="adj" fmla="val 10000"/>
          </a:avLst>
        </a:prstGeom>
        <a:solidFill>
          <a:schemeClr val="accent2">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0BB8750-7AEB-4CEE-8D21-AADC1C207532}">
      <dsp:nvSpPr>
        <dsp:cNvPr id="0" name=""/>
        <dsp:cNvSpPr/>
      </dsp:nvSpPr>
      <dsp:spPr>
        <a:xfrm>
          <a:off x="0" y="2567922"/>
          <a:ext cx="7502617" cy="2334475"/>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s-ES" sz="2400" b="1" kern="1200">
              <a:latin typeface="Tw Cen MT" panose="020B0602020104020603" pitchFamily="34" charset="0"/>
            </a:rPr>
            <a:t>Se puede utilizar en más de 65 colegios y universidades públicas y privadas de dos a cuatro años.</a:t>
          </a:r>
          <a:endParaRPr lang="en-US" sz="2400" b="1" kern="1200">
            <a:latin typeface="Tw Cen MT" panose="020B0602020104020603" pitchFamily="34" charset="0"/>
          </a:endParaRPr>
        </a:p>
      </dsp:txBody>
      <dsp:txXfrm>
        <a:off x="1733970" y="2567922"/>
        <a:ext cx="5768646" cy="2334475"/>
      </dsp:txXfrm>
    </dsp:sp>
    <dsp:sp modelId="{284AE6AC-588C-41F5-9507-A1575D957F90}">
      <dsp:nvSpPr>
        <dsp:cNvPr id="0" name=""/>
        <dsp:cNvSpPr/>
      </dsp:nvSpPr>
      <dsp:spPr>
        <a:xfrm>
          <a:off x="435462" y="3101947"/>
          <a:ext cx="1096492" cy="1266424"/>
        </a:xfrm>
        <a:prstGeom prst="roundRect">
          <a:avLst>
            <a:gd name="adj" fmla="val 10000"/>
          </a:avLst>
        </a:prstGeom>
        <a:solidFill>
          <a:schemeClr val="accent3">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E5D955-CF20-4F39-848A-ABA2A4ECD4D7}">
      <dsp:nvSpPr>
        <dsp:cNvPr id="0" name=""/>
        <dsp:cNvSpPr/>
      </dsp:nvSpPr>
      <dsp:spPr>
        <a:xfrm>
          <a:off x="274392" y="2833"/>
          <a:ext cx="5740889" cy="134884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latin typeface="Tw Cen MT" panose="020B0602020104020603" pitchFamily="34" charset="0"/>
            </a:rPr>
            <a:t>Esta </a:t>
          </a:r>
          <a:r>
            <a:rPr lang="en-US" sz="2800" kern="1200" err="1">
              <a:latin typeface="Tw Cen MT" panose="020B0602020104020603" pitchFamily="34" charset="0"/>
            </a:rPr>
            <a:t>herramienta</a:t>
          </a:r>
          <a:r>
            <a:rPr lang="en-US" sz="2800" kern="1200">
              <a:latin typeface="Tw Cen MT" panose="020B0602020104020603" pitchFamily="34" charset="0"/>
            </a:rPr>
            <a:t> </a:t>
          </a:r>
          <a:r>
            <a:rPr lang="en-US" sz="2800" kern="1200" err="1">
              <a:latin typeface="Tw Cen MT" panose="020B0602020104020603" pitchFamily="34" charset="0"/>
            </a:rPr>
            <a:t>calcula</a:t>
          </a:r>
          <a:r>
            <a:rPr lang="en-US" sz="2800" kern="1200">
              <a:latin typeface="Tw Cen MT" panose="020B0602020104020603" pitchFamily="34" charset="0"/>
            </a:rPr>
            <a:t> </a:t>
          </a:r>
          <a:r>
            <a:rPr lang="en-US" sz="2800" kern="1200" err="1">
              <a:latin typeface="Tw Cen MT" panose="020B0602020104020603" pitchFamily="34" charset="0"/>
            </a:rPr>
            <a:t>los</a:t>
          </a:r>
          <a:r>
            <a:rPr lang="en-US" sz="2800" kern="1200">
              <a:latin typeface="Tw Cen MT" panose="020B0602020104020603" pitchFamily="34" charset="0"/>
            </a:rPr>
            <a:t> </a:t>
          </a:r>
          <a:r>
            <a:rPr lang="en-US" sz="2800" kern="1200" err="1">
              <a:latin typeface="Tw Cen MT" panose="020B0602020104020603" pitchFamily="34" charset="0"/>
            </a:rPr>
            <a:t>montos</a:t>
          </a:r>
          <a:r>
            <a:rPr lang="en-US" sz="2800" kern="1200">
              <a:latin typeface="Tw Cen MT" panose="020B0602020104020603" pitchFamily="34" charset="0"/>
            </a:rPr>
            <a:t> </a:t>
          </a:r>
          <a:r>
            <a:rPr lang="en-US" sz="2800" kern="1200" err="1">
              <a:latin typeface="Tw Cen MT" panose="020B0602020104020603" pitchFamily="34" charset="0"/>
            </a:rPr>
            <a:t>potenciales</a:t>
          </a:r>
          <a:r>
            <a:rPr lang="en-US" sz="2800" kern="1200">
              <a:latin typeface="Tw Cen MT" panose="020B0602020104020603" pitchFamily="34" charset="0"/>
            </a:rPr>
            <a:t> del Washington College Grant y </a:t>
          </a:r>
          <a:r>
            <a:rPr lang="en-US" sz="2800" kern="1200" err="1">
              <a:latin typeface="Tw Cen MT" panose="020B0602020104020603" pitchFamily="34" charset="0"/>
            </a:rPr>
            <a:t>los</a:t>
          </a:r>
          <a:r>
            <a:rPr lang="en-US" sz="2800" kern="1200">
              <a:latin typeface="Tw Cen MT" panose="020B0602020104020603" pitchFamily="34" charset="0"/>
            </a:rPr>
            <a:t> </a:t>
          </a:r>
          <a:r>
            <a:rPr lang="en-US" sz="2800" kern="1200" err="1">
              <a:latin typeface="Tw Cen MT" panose="020B0602020104020603" pitchFamily="34" charset="0"/>
            </a:rPr>
            <a:t>programas</a:t>
          </a:r>
          <a:r>
            <a:rPr lang="en-US" sz="2800" kern="1200">
              <a:latin typeface="Tw Cen MT" panose="020B0602020104020603" pitchFamily="34" charset="0"/>
            </a:rPr>
            <a:t> del Pell Grant. </a:t>
          </a:r>
        </a:p>
      </dsp:txBody>
      <dsp:txXfrm>
        <a:off x="274392" y="2833"/>
        <a:ext cx="5740889" cy="1348840"/>
      </dsp:txXfrm>
    </dsp:sp>
    <dsp:sp modelId="{5AE5D674-42EE-4AD5-974A-CA97D275C5DE}">
      <dsp:nvSpPr>
        <dsp:cNvPr id="0" name=""/>
        <dsp:cNvSpPr/>
      </dsp:nvSpPr>
      <dsp:spPr>
        <a:xfrm>
          <a:off x="222439" y="1576480"/>
          <a:ext cx="5844795" cy="1514289"/>
        </a:xfrm>
        <a:prstGeom prst="rect">
          <a:avLst/>
        </a:prstGeom>
        <a:solidFill>
          <a:schemeClr val="accent4">
            <a:hueOff val="-6371795"/>
            <a:satOff val="33689"/>
            <a:lumOff val="-95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err="1">
              <a:latin typeface="Tw Cen MT" panose="020B0602020104020603" pitchFamily="34" charset="0"/>
            </a:rPr>
            <a:t>Puede</a:t>
          </a:r>
          <a:r>
            <a:rPr lang="en-US" sz="2800" kern="1200">
              <a:latin typeface="Tw Cen MT" panose="020B0602020104020603" pitchFamily="34" charset="0"/>
            </a:rPr>
            <a:t> </a:t>
          </a:r>
          <a:r>
            <a:rPr lang="en-US" sz="2800" kern="1200" err="1">
              <a:latin typeface="Tw Cen MT" panose="020B0602020104020603" pitchFamily="34" charset="0"/>
            </a:rPr>
            <a:t>haber</a:t>
          </a:r>
          <a:r>
            <a:rPr lang="en-US" sz="2800" kern="1200">
              <a:latin typeface="Tw Cen MT" panose="020B0602020104020603" pitchFamily="34" charset="0"/>
            </a:rPr>
            <a:t> mas </a:t>
          </a:r>
          <a:r>
            <a:rPr lang="en-US" sz="2800" kern="1200" err="1">
              <a:latin typeface="Tw Cen MT" panose="020B0602020104020603" pitchFamily="34" charset="0"/>
            </a:rPr>
            <a:t>ayuda</a:t>
          </a:r>
          <a:r>
            <a:rPr lang="en-US" sz="2800" kern="1200">
              <a:latin typeface="Tw Cen MT" panose="020B0602020104020603" pitchFamily="34" charset="0"/>
            </a:rPr>
            <a:t> disponible a </a:t>
          </a:r>
          <a:r>
            <a:rPr lang="en-US" sz="2800" kern="1200" err="1">
              <a:latin typeface="Tw Cen MT" panose="020B0602020104020603" pitchFamily="34" charset="0"/>
            </a:rPr>
            <a:t>usted</a:t>
          </a:r>
          <a:r>
            <a:rPr lang="en-US" sz="2800" kern="1200">
              <a:latin typeface="Tw Cen MT" panose="020B0602020104020603" pitchFamily="34" charset="0"/>
            </a:rPr>
            <a:t> de </a:t>
          </a:r>
          <a:r>
            <a:rPr lang="en-US" sz="2800" kern="1200" err="1">
              <a:latin typeface="Tw Cen MT" panose="020B0602020104020603" pitchFamily="34" charset="0"/>
            </a:rPr>
            <a:t>otro</a:t>
          </a:r>
          <a:r>
            <a:rPr lang="en-US" sz="2800" kern="1200">
              <a:latin typeface="Tw Cen MT" panose="020B0602020104020603" pitchFamily="34" charset="0"/>
            </a:rPr>
            <a:t> </a:t>
          </a:r>
          <a:r>
            <a:rPr lang="en-US" sz="2800" kern="1200" err="1">
              <a:latin typeface="Tw Cen MT" panose="020B0602020104020603" pitchFamily="34" charset="0"/>
            </a:rPr>
            <a:t>estado</a:t>
          </a:r>
          <a:r>
            <a:rPr lang="en-US" sz="2800" kern="1200">
              <a:latin typeface="Tw Cen MT" panose="020B0602020104020603" pitchFamily="34" charset="0"/>
            </a:rPr>
            <a:t> o </a:t>
          </a:r>
          <a:r>
            <a:rPr lang="en-US" sz="2800" kern="1200" err="1">
              <a:latin typeface="Tw Cen MT" panose="020B0602020104020603" pitchFamily="34" charset="0"/>
            </a:rPr>
            <a:t>programas</a:t>
          </a:r>
          <a:r>
            <a:rPr lang="en-US" sz="2800" kern="1200">
              <a:latin typeface="Tw Cen MT" panose="020B0602020104020603" pitchFamily="34" charset="0"/>
            </a:rPr>
            <a:t> federales, </a:t>
          </a:r>
          <a:r>
            <a:rPr lang="en-US" sz="2800" kern="1200" err="1">
              <a:latin typeface="Tw Cen MT" panose="020B0602020104020603" pitchFamily="34" charset="0"/>
            </a:rPr>
            <a:t>becas</a:t>
          </a:r>
          <a:r>
            <a:rPr lang="en-US" sz="2800" kern="1200">
              <a:latin typeface="Tw Cen MT" panose="020B0602020104020603" pitchFamily="34" charset="0"/>
            </a:rPr>
            <a:t> </a:t>
          </a:r>
          <a:r>
            <a:rPr lang="en-US" sz="2800" kern="1200" err="1">
              <a:latin typeface="Tw Cen MT" panose="020B0602020104020603" pitchFamily="34" charset="0"/>
            </a:rPr>
            <a:t>privadas</a:t>
          </a:r>
          <a:r>
            <a:rPr lang="en-US" sz="2800" kern="1200">
              <a:latin typeface="Tw Cen MT" panose="020B0602020104020603" pitchFamily="34" charset="0"/>
            </a:rPr>
            <a:t>, o </a:t>
          </a:r>
          <a:r>
            <a:rPr lang="en-US" sz="2800" kern="1200" err="1">
              <a:latin typeface="Tw Cen MT" panose="020B0602020104020603" pitchFamily="34" charset="0"/>
            </a:rPr>
            <a:t>directamente</a:t>
          </a:r>
          <a:r>
            <a:rPr lang="en-US" sz="2800" kern="1200">
              <a:latin typeface="Tw Cen MT" panose="020B0602020104020603" pitchFamily="34" charset="0"/>
            </a:rPr>
            <a:t> del colegio que </a:t>
          </a:r>
          <a:r>
            <a:rPr lang="en-US" sz="2800" kern="1200" err="1">
              <a:latin typeface="Tw Cen MT" panose="020B0602020104020603" pitchFamily="34" charset="0"/>
            </a:rPr>
            <a:t>asiste</a:t>
          </a:r>
          <a:r>
            <a:rPr lang="en-US" sz="2800" kern="1200">
              <a:latin typeface="Tw Cen MT" panose="020B0602020104020603" pitchFamily="34" charset="0"/>
            </a:rPr>
            <a:t>. </a:t>
          </a:r>
        </a:p>
      </dsp:txBody>
      <dsp:txXfrm>
        <a:off x="222439" y="1576480"/>
        <a:ext cx="5844795" cy="1514289"/>
      </dsp:txXfrm>
    </dsp:sp>
    <dsp:sp modelId="{E227D9AE-009C-4DED-B571-C8F3FA96E7E5}">
      <dsp:nvSpPr>
        <dsp:cNvPr id="0" name=""/>
        <dsp:cNvSpPr/>
      </dsp:nvSpPr>
      <dsp:spPr>
        <a:xfrm>
          <a:off x="214627" y="3315576"/>
          <a:ext cx="5860419" cy="1348840"/>
        </a:xfrm>
        <a:prstGeom prst="rect">
          <a:avLst/>
        </a:prstGeom>
        <a:solidFill>
          <a:schemeClr val="accent4">
            <a:hueOff val="-12743589"/>
            <a:satOff val="67377"/>
            <a:lumOff val="-190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0" i="0" kern="1200">
              <a:latin typeface="Tw Cen MT" panose="020B0602020104020603" pitchFamily="34" charset="0"/>
            </a:rPr>
            <a:t>La </a:t>
          </a:r>
          <a:r>
            <a:rPr lang="en-US" sz="2800" b="0" i="0" kern="1200" err="1">
              <a:latin typeface="Tw Cen MT" panose="020B0602020104020603" pitchFamily="34" charset="0"/>
            </a:rPr>
            <a:t>única</a:t>
          </a:r>
          <a:r>
            <a:rPr lang="en-US" sz="2800" b="0" i="0" kern="1200">
              <a:latin typeface="Tw Cen MT" panose="020B0602020104020603" pitchFamily="34" charset="0"/>
            </a:rPr>
            <a:t> </a:t>
          </a:r>
          <a:r>
            <a:rPr lang="en-US" sz="2800" b="0" i="0" kern="1200" err="1">
              <a:latin typeface="Tw Cen MT" panose="020B0602020104020603" pitchFamily="34" charset="0"/>
            </a:rPr>
            <a:t>manera</a:t>
          </a:r>
          <a:r>
            <a:rPr lang="en-US" sz="2800" b="0" i="0" kern="1200">
              <a:latin typeface="Tw Cen MT" panose="020B0602020104020603" pitchFamily="34" charset="0"/>
            </a:rPr>
            <a:t> de saber </a:t>
          </a:r>
          <a:r>
            <a:rPr lang="en-US" sz="2800" b="0" i="0" kern="1200" err="1">
              <a:latin typeface="Tw Cen MT" panose="020B0602020104020603" pitchFamily="34" charset="0"/>
            </a:rPr>
            <a:t>cuánta</a:t>
          </a:r>
          <a:r>
            <a:rPr lang="en-US" sz="2800" b="0" i="0" kern="1200">
              <a:latin typeface="Tw Cen MT" panose="020B0602020104020603" pitchFamily="34" charset="0"/>
            </a:rPr>
            <a:t> </a:t>
          </a:r>
          <a:r>
            <a:rPr lang="en-US" sz="2800" b="0" i="0" kern="1200" err="1">
              <a:latin typeface="Tw Cen MT" panose="020B0602020104020603" pitchFamily="34" charset="0"/>
            </a:rPr>
            <a:t>ayuda</a:t>
          </a:r>
          <a:r>
            <a:rPr lang="en-US" sz="2800" b="0" i="0" kern="1200">
              <a:latin typeface="Tw Cen MT" panose="020B0602020104020603" pitchFamily="34" charset="0"/>
            </a:rPr>
            <a:t> </a:t>
          </a:r>
          <a:r>
            <a:rPr lang="en-US" sz="2800" b="0" i="0" kern="1200" err="1">
              <a:latin typeface="Tw Cen MT" panose="020B0602020104020603" pitchFamily="34" charset="0"/>
            </a:rPr>
            <a:t>financiera</a:t>
          </a:r>
          <a:r>
            <a:rPr lang="en-US" sz="2800" b="0" i="0" kern="1200">
              <a:latin typeface="Tw Cen MT" panose="020B0602020104020603" pitchFamily="34" charset="0"/>
            </a:rPr>
            <a:t> </a:t>
          </a:r>
          <a:r>
            <a:rPr lang="en-US" sz="2800" b="0" i="0" kern="1200" err="1">
              <a:latin typeface="Tw Cen MT" panose="020B0602020104020603" pitchFamily="34" charset="0"/>
            </a:rPr>
            <a:t>puede</a:t>
          </a:r>
          <a:r>
            <a:rPr lang="en-US" sz="2800" b="0" i="0" kern="1200">
              <a:latin typeface="Tw Cen MT" panose="020B0602020104020603" pitchFamily="34" charset="0"/>
            </a:rPr>
            <a:t> </a:t>
          </a:r>
          <a:r>
            <a:rPr lang="en-US" sz="2800" b="0" i="0" kern="1200" err="1">
              <a:latin typeface="Tw Cen MT" panose="020B0602020104020603" pitchFamily="34" charset="0"/>
            </a:rPr>
            <a:t>recibir</a:t>
          </a:r>
          <a:r>
            <a:rPr lang="en-US" sz="2800" b="0" i="0" kern="1200">
              <a:latin typeface="Tw Cen MT" panose="020B0602020104020603" pitchFamily="34" charset="0"/>
            </a:rPr>
            <a:t> es completer </a:t>
          </a:r>
          <a:r>
            <a:rPr lang="en-US" sz="2800" b="0" i="0" kern="1200" err="1">
              <a:latin typeface="Tw Cen MT" panose="020B0602020104020603" pitchFamily="34" charset="0"/>
            </a:rPr>
            <a:t>una</a:t>
          </a:r>
          <a:r>
            <a:rPr lang="en-US" sz="2800" b="0" i="0" kern="1200">
              <a:latin typeface="Tw Cen MT" panose="020B0602020104020603" pitchFamily="34" charset="0"/>
            </a:rPr>
            <a:t> </a:t>
          </a:r>
          <a:r>
            <a:rPr lang="en-US" sz="2800" b="0" i="0" kern="1200" err="1">
              <a:latin typeface="Tw Cen MT" panose="020B0602020104020603" pitchFamily="34" charset="0"/>
            </a:rPr>
            <a:t>solicitud</a:t>
          </a:r>
          <a:r>
            <a:rPr lang="en-US" sz="2800" b="0" i="0" kern="1200">
              <a:latin typeface="Tw Cen MT" panose="020B0602020104020603" pitchFamily="34" charset="0"/>
            </a:rPr>
            <a:t> de </a:t>
          </a:r>
          <a:r>
            <a:rPr lang="en-US" sz="2800" b="0" i="0" kern="1200" err="1">
              <a:latin typeface="Tw Cen MT" panose="020B0602020104020603" pitchFamily="34" charset="0"/>
            </a:rPr>
            <a:t>ayuda</a:t>
          </a:r>
          <a:r>
            <a:rPr lang="en-US" sz="2800" b="0" i="0" kern="1200">
              <a:latin typeface="Tw Cen MT" panose="020B0602020104020603" pitchFamily="34" charset="0"/>
            </a:rPr>
            <a:t> </a:t>
          </a:r>
          <a:r>
            <a:rPr lang="en-US" sz="2800" b="0" i="0" kern="1200" err="1">
              <a:latin typeface="Tw Cen MT" panose="020B0602020104020603" pitchFamily="34" charset="0"/>
            </a:rPr>
            <a:t>financiera</a:t>
          </a:r>
          <a:r>
            <a:rPr lang="en-US" sz="2800" b="0" i="0" kern="1200">
              <a:latin typeface="Tw Cen MT" panose="020B0602020104020603" pitchFamily="34" charset="0"/>
            </a:rPr>
            <a:t> FASFA o WASFA.</a:t>
          </a:r>
          <a:endParaRPr lang="en-US" sz="2800" kern="1200">
            <a:latin typeface="Tw Cen MT" panose="020B0602020104020603" pitchFamily="34" charset="0"/>
          </a:endParaRPr>
        </a:p>
      </dsp:txBody>
      <dsp:txXfrm>
        <a:off x="214627" y="3315576"/>
        <a:ext cx="5860419" cy="134884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CFE61BE-0847-4FDE-8AB8-A750B2543EE6}">
      <dsp:nvSpPr>
        <dsp:cNvPr id="0" name=""/>
        <dsp:cNvSpPr/>
      </dsp:nvSpPr>
      <dsp:spPr>
        <a:xfrm>
          <a:off x="50" y="4124"/>
          <a:ext cx="4795254" cy="10656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312928" tIns="178816" rIns="312928" bIns="178816" numCol="1" spcCol="1270" anchor="ctr" anchorCtr="0">
          <a:noAutofit/>
        </a:bodyPr>
        <a:lstStyle/>
        <a:p>
          <a:pPr marL="0" lvl="0" indent="0" algn="ctr" defTabSz="1955800">
            <a:lnSpc>
              <a:spcPct val="90000"/>
            </a:lnSpc>
            <a:spcBef>
              <a:spcPct val="0"/>
            </a:spcBef>
            <a:spcAft>
              <a:spcPct val="35000"/>
            </a:spcAft>
            <a:buNone/>
          </a:pPr>
          <a:r>
            <a:rPr lang="en-US" sz="4400" kern="1200">
              <a:latin typeface="+mj-lt"/>
            </a:rPr>
            <a:t>FAFSA</a:t>
          </a:r>
        </a:p>
      </dsp:txBody>
      <dsp:txXfrm>
        <a:off x="50" y="4124"/>
        <a:ext cx="4795254" cy="1065600"/>
      </dsp:txXfrm>
    </dsp:sp>
    <dsp:sp modelId="{14AEABD4-9E14-47D3-B6C5-BC6867EE1DB7}">
      <dsp:nvSpPr>
        <dsp:cNvPr id="0" name=""/>
        <dsp:cNvSpPr/>
      </dsp:nvSpPr>
      <dsp:spPr>
        <a:xfrm>
          <a:off x="50" y="1069724"/>
          <a:ext cx="4795254" cy="203130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s-ES" sz="2800" kern="1200">
              <a:latin typeface="+mj-lt"/>
            </a:rPr>
            <a:t>Solicitud Gratuita de Ayuda Federal para Estudiantes</a:t>
          </a:r>
          <a:endParaRPr lang="en-US" sz="2800" kern="1200">
            <a:latin typeface="+mj-lt"/>
          </a:endParaRPr>
        </a:p>
        <a:p>
          <a:pPr marL="285750" lvl="1" indent="-285750" algn="l" defTabSz="1244600">
            <a:lnSpc>
              <a:spcPct val="90000"/>
            </a:lnSpc>
            <a:spcBef>
              <a:spcPct val="0"/>
            </a:spcBef>
            <a:spcAft>
              <a:spcPct val="15000"/>
            </a:spcAft>
            <a:buChar char="•"/>
          </a:pPr>
          <a:r>
            <a:rPr lang="en-US" sz="2800" kern="1200">
              <a:latin typeface="+mj-lt"/>
            </a:rPr>
            <a:t>FAFSA.gov</a:t>
          </a:r>
        </a:p>
      </dsp:txBody>
      <dsp:txXfrm>
        <a:off x="50" y="1069724"/>
        <a:ext cx="4795254" cy="2031300"/>
      </dsp:txXfrm>
    </dsp:sp>
    <dsp:sp modelId="{E8D16B93-82BB-4417-9D6A-BE7708DD5E5B}">
      <dsp:nvSpPr>
        <dsp:cNvPr id="0" name=""/>
        <dsp:cNvSpPr/>
      </dsp:nvSpPr>
      <dsp:spPr>
        <a:xfrm>
          <a:off x="5466639" y="4124"/>
          <a:ext cx="4795254" cy="10656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312928" tIns="178816" rIns="312928" bIns="178816" numCol="1" spcCol="1270" anchor="ctr" anchorCtr="0">
          <a:noAutofit/>
        </a:bodyPr>
        <a:lstStyle/>
        <a:p>
          <a:pPr marL="0" lvl="0" indent="0" algn="ctr" defTabSz="1955800">
            <a:lnSpc>
              <a:spcPct val="90000"/>
            </a:lnSpc>
            <a:spcBef>
              <a:spcPct val="0"/>
            </a:spcBef>
            <a:spcAft>
              <a:spcPct val="35000"/>
            </a:spcAft>
            <a:buNone/>
          </a:pPr>
          <a:r>
            <a:rPr lang="en-US" sz="4400" kern="1200">
              <a:latin typeface="+mj-lt"/>
            </a:rPr>
            <a:t>WASFA</a:t>
          </a:r>
        </a:p>
      </dsp:txBody>
      <dsp:txXfrm>
        <a:off x="5466639" y="4124"/>
        <a:ext cx="4795254" cy="1065600"/>
      </dsp:txXfrm>
    </dsp:sp>
    <dsp:sp modelId="{8E0F0E90-230F-4D92-B12C-4BB0B3A64D97}">
      <dsp:nvSpPr>
        <dsp:cNvPr id="0" name=""/>
        <dsp:cNvSpPr/>
      </dsp:nvSpPr>
      <dsp:spPr>
        <a:xfrm>
          <a:off x="5466639" y="1069724"/>
          <a:ext cx="4795254" cy="203130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es-ES" sz="2800" kern="1200">
              <a:latin typeface="+mj-lt"/>
            </a:rPr>
            <a:t>Solicitud de Ayuda Financiera del Estado de Washington</a:t>
          </a:r>
          <a:endParaRPr lang="en-US" sz="2800" kern="1200">
            <a:latin typeface="+mj-lt"/>
          </a:endParaRPr>
        </a:p>
        <a:p>
          <a:pPr marL="285750" lvl="1" indent="-285750" algn="l" defTabSz="1244600">
            <a:lnSpc>
              <a:spcPct val="90000"/>
            </a:lnSpc>
            <a:spcBef>
              <a:spcPct val="0"/>
            </a:spcBef>
            <a:spcAft>
              <a:spcPct val="15000"/>
            </a:spcAft>
            <a:buChar char="•"/>
          </a:pPr>
          <a:r>
            <a:rPr lang="en-US" sz="2800" kern="1200">
              <a:latin typeface="+mj-lt"/>
            </a:rPr>
            <a:t>wsac.wa.gov/WASFA</a:t>
          </a:r>
        </a:p>
      </dsp:txBody>
      <dsp:txXfrm>
        <a:off x="5466639" y="1069724"/>
        <a:ext cx="4795254" cy="20313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585F1D-8AAD-459C-924B-3BAA73EA1E3C}">
      <dsp:nvSpPr>
        <dsp:cNvPr id="0" name=""/>
        <dsp:cNvSpPr/>
      </dsp:nvSpPr>
      <dsp:spPr>
        <a:xfrm>
          <a:off x="0" y="0"/>
          <a:ext cx="10723034" cy="2149758"/>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DF3C3A0-D6C6-4E02-8157-5788C785642A}">
      <dsp:nvSpPr>
        <dsp:cNvPr id="0" name=""/>
        <dsp:cNvSpPr/>
      </dsp:nvSpPr>
      <dsp:spPr>
        <a:xfrm>
          <a:off x="322921" y="286634"/>
          <a:ext cx="4798662" cy="1576489"/>
        </a:xfrm>
        <a:prstGeom prst="roundRect">
          <a:avLst>
            <a:gd name="adj" fmla="val 10000"/>
          </a:avLst>
        </a:prstGeom>
        <a:blipFill rotWithShape="1">
          <a:blip xmlns:r="http://schemas.openxmlformats.org/officeDocument/2006/relationships" r:embed="rId1"/>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FFECEBC-F605-45F1-8562-1778B72C7A20}">
      <dsp:nvSpPr>
        <dsp:cNvPr id="0" name=""/>
        <dsp:cNvSpPr/>
      </dsp:nvSpPr>
      <dsp:spPr>
        <a:xfrm rot="10800000">
          <a:off x="322921" y="2149758"/>
          <a:ext cx="4798662" cy="2627482"/>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8488" tIns="348488" rIns="348488" bIns="348488" numCol="1" spcCol="1270" anchor="t" anchorCtr="0">
          <a:noAutofit/>
        </a:bodyPr>
        <a:lstStyle/>
        <a:p>
          <a:pPr marL="0" lvl="0" indent="0" algn="ctr" defTabSz="2178050">
            <a:lnSpc>
              <a:spcPct val="90000"/>
            </a:lnSpc>
            <a:spcBef>
              <a:spcPct val="0"/>
            </a:spcBef>
            <a:spcAft>
              <a:spcPct val="35000"/>
            </a:spcAft>
            <a:buNone/>
          </a:pPr>
          <a:r>
            <a:rPr lang="en-US" sz="4900" kern="1200">
              <a:latin typeface="+mj-lt"/>
            </a:rPr>
            <a:t>Sitio Web</a:t>
          </a:r>
        </a:p>
      </dsp:txBody>
      <dsp:txXfrm rot="10800000">
        <a:off x="403725" y="2149758"/>
        <a:ext cx="4637054" cy="2546678"/>
      </dsp:txXfrm>
    </dsp:sp>
    <dsp:sp modelId="{D0DD52E7-C351-4BC5-B502-5A5DBDC65451}">
      <dsp:nvSpPr>
        <dsp:cNvPr id="0" name=""/>
        <dsp:cNvSpPr/>
      </dsp:nvSpPr>
      <dsp:spPr>
        <a:xfrm>
          <a:off x="5601450" y="286634"/>
          <a:ext cx="4798662" cy="1576489"/>
        </a:xfrm>
        <a:prstGeom prst="roundRect">
          <a:avLst>
            <a:gd name="adj" fmla="val 10000"/>
          </a:avLst>
        </a:prstGeom>
        <a:blipFill dpi="0" rotWithShape="1">
          <a:blip xmlns:r="http://schemas.openxmlformats.org/officeDocument/2006/relationships" r:embed="rId2">
            <a:extLst>
              <a:ext uri="{28A0092B-C50C-407E-A947-70E740481C1C}">
                <a14:useLocalDpi xmlns:a14="http://schemas.microsoft.com/office/drawing/2010/main" val="0"/>
              </a:ext>
            </a:extLst>
          </a:blip>
          <a:srcRect/>
          <a:stretch>
            <a:fillRect l="-187" t="-1078" r="187" b="-32922"/>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3088773-29F6-4D2F-B998-42CE201C1D2D}">
      <dsp:nvSpPr>
        <dsp:cNvPr id="0" name=""/>
        <dsp:cNvSpPr/>
      </dsp:nvSpPr>
      <dsp:spPr>
        <a:xfrm rot="10800000">
          <a:off x="5601450" y="2149758"/>
          <a:ext cx="4798662" cy="2627482"/>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8488" tIns="348488" rIns="348488" bIns="348488" numCol="1" spcCol="1270" anchor="t" anchorCtr="0">
          <a:noAutofit/>
        </a:bodyPr>
        <a:lstStyle/>
        <a:p>
          <a:pPr marL="0" lvl="0" indent="0" algn="ctr" defTabSz="2178050">
            <a:lnSpc>
              <a:spcPct val="90000"/>
            </a:lnSpc>
            <a:spcBef>
              <a:spcPct val="0"/>
            </a:spcBef>
            <a:spcAft>
              <a:spcPct val="35000"/>
            </a:spcAft>
            <a:buNone/>
          </a:pPr>
          <a:r>
            <a:rPr lang="en-US" sz="4900" kern="1200">
              <a:latin typeface="+mj-lt"/>
            </a:rPr>
            <a:t>FAFSA en </a:t>
          </a:r>
          <a:r>
            <a:rPr lang="en-US" sz="4900" kern="1200" err="1">
              <a:latin typeface="+mj-lt"/>
            </a:rPr>
            <a:t>Formulario</a:t>
          </a:r>
          <a:r>
            <a:rPr lang="en-US" sz="4900" kern="1200">
              <a:latin typeface="+mj-lt"/>
            </a:rPr>
            <a:t> de </a:t>
          </a:r>
          <a:r>
            <a:rPr lang="en-US" sz="4900" kern="1200" err="1">
              <a:latin typeface="+mj-lt"/>
            </a:rPr>
            <a:t>Papel</a:t>
          </a:r>
          <a:endParaRPr lang="en-US" sz="4900" kern="1200">
            <a:latin typeface="+mj-lt"/>
          </a:endParaRPr>
        </a:p>
      </dsp:txBody>
      <dsp:txXfrm rot="10800000">
        <a:off x="5682254" y="2149758"/>
        <a:ext cx="4637054" cy="254667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B2A747-5CF8-41AD-B261-6CE42AAD4C64}">
      <dsp:nvSpPr>
        <dsp:cNvPr id="0" name=""/>
        <dsp:cNvSpPr/>
      </dsp:nvSpPr>
      <dsp:spPr>
        <a:xfrm>
          <a:off x="0" y="0"/>
          <a:ext cx="10515600" cy="1958102"/>
        </a:xfrm>
        <a:prstGeom prst="roundRect">
          <a:avLst>
            <a:gd name="adj" fmla="val 10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1027E5C-122A-4463-BBA3-D1B5A2DF49D7}">
      <dsp:nvSpPr>
        <dsp:cNvPr id="0" name=""/>
        <dsp:cNvSpPr/>
      </dsp:nvSpPr>
      <dsp:spPr>
        <a:xfrm>
          <a:off x="316674" y="261080"/>
          <a:ext cx="4705833" cy="1435941"/>
        </a:xfrm>
        <a:prstGeom prst="roundRect">
          <a:avLst>
            <a:gd name="adj" fmla="val 10000"/>
          </a:avLst>
        </a:prstGeom>
        <a:blipFill dpi="0" rotWithShape="1">
          <a:blip xmlns:r="http://schemas.openxmlformats.org/officeDocument/2006/relationships" r:embed="rId1"/>
          <a:srcRect/>
          <a:stretch>
            <a:fillRect l="-4045" t="838" r="45" b="-838"/>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2D4746E-9B73-4D2F-8B01-2CA1E456E2CE}">
      <dsp:nvSpPr>
        <dsp:cNvPr id="0" name=""/>
        <dsp:cNvSpPr/>
      </dsp:nvSpPr>
      <dsp:spPr>
        <a:xfrm rot="10800000">
          <a:off x="327968" y="1958102"/>
          <a:ext cx="4705833" cy="2393235"/>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8488" tIns="348488" rIns="348488" bIns="348488" numCol="1" spcCol="1270" anchor="t" anchorCtr="0">
          <a:noAutofit/>
        </a:bodyPr>
        <a:lstStyle/>
        <a:p>
          <a:pPr marL="0" lvl="0" indent="0" algn="ctr" defTabSz="2178050">
            <a:lnSpc>
              <a:spcPct val="90000"/>
            </a:lnSpc>
            <a:spcBef>
              <a:spcPct val="0"/>
            </a:spcBef>
            <a:spcAft>
              <a:spcPct val="35000"/>
            </a:spcAft>
            <a:buNone/>
          </a:pPr>
          <a:r>
            <a:rPr lang="en-US" sz="4900" kern="1200">
              <a:latin typeface="+mj-lt"/>
            </a:rPr>
            <a:t>Inglés</a:t>
          </a:r>
        </a:p>
      </dsp:txBody>
      <dsp:txXfrm rot="10800000">
        <a:off x="401568" y="1958102"/>
        <a:ext cx="4558633" cy="2319635"/>
      </dsp:txXfrm>
    </dsp:sp>
    <dsp:sp modelId="{87713F6E-996C-4FD7-A770-BD4DC16F36BE}">
      <dsp:nvSpPr>
        <dsp:cNvPr id="0" name=""/>
        <dsp:cNvSpPr/>
      </dsp:nvSpPr>
      <dsp:spPr>
        <a:xfrm>
          <a:off x="5493091" y="261080"/>
          <a:ext cx="4705833" cy="1435941"/>
        </a:xfrm>
        <a:prstGeom prst="roundRect">
          <a:avLst>
            <a:gd name="adj" fmla="val 10000"/>
          </a:avLst>
        </a:prstGeom>
        <a:blipFill rotWithShape="1">
          <a:blip xmlns:r="http://schemas.openxmlformats.org/officeDocument/2006/relationships" r:embed="rId2"/>
          <a:srcRect/>
          <a:stretch>
            <a:fillRect t="-1000" b="-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366C5D4-1D35-44BE-ADB2-13E19657F39C}">
      <dsp:nvSpPr>
        <dsp:cNvPr id="0" name=""/>
        <dsp:cNvSpPr/>
      </dsp:nvSpPr>
      <dsp:spPr>
        <a:xfrm rot="10800000">
          <a:off x="5493091" y="1958102"/>
          <a:ext cx="4705833" cy="2393235"/>
        </a:xfrm>
        <a:prstGeom prst="round2SameRect">
          <a:avLst>
            <a:gd name="adj1" fmla="val 10500"/>
            <a:gd name="adj2" fmla="val 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8488" tIns="348488" rIns="348488" bIns="348488" numCol="1" spcCol="1270" anchor="t" anchorCtr="0">
          <a:noAutofit/>
        </a:bodyPr>
        <a:lstStyle/>
        <a:p>
          <a:pPr marL="0" lvl="0" indent="0" algn="ctr" defTabSz="2178050">
            <a:lnSpc>
              <a:spcPct val="90000"/>
            </a:lnSpc>
            <a:spcBef>
              <a:spcPct val="0"/>
            </a:spcBef>
            <a:spcAft>
              <a:spcPct val="35000"/>
            </a:spcAft>
            <a:buNone/>
          </a:pPr>
          <a:r>
            <a:rPr lang="en-US" sz="4900" kern="1200">
              <a:latin typeface="+mj-lt"/>
            </a:rPr>
            <a:t>Español</a:t>
          </a:r>
        </a:p>
      </dsp:txBody>
      <dsp:txXfrm rot="10800000">
        <a:off x="5566691" y="1958102"/>
        <a:ext cx="4558633" cy="231963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255428-F888-48CF-BF2C-6C25816FFFA9}">
      <dsp:nvSpPr>
        <dsp:cNvPr id="0" name=""/>
        <dsp:cNvSpPr/>
      </dsp:nvSpPr>
      <dsp:spPr>
        <a:xfrm>
          <a:off x="924849" y="2532"/>
          <a:ext cx="3368186" cy="20209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latin typeface="+mj-lt"/>
            </a:rPr>
            <a:t>Número de Seguro Social</a:t>
          </a:r>
        </a:p>
      </dsp:txBody>
      <dsp:txXfrm>
        <a:off x="924849" y="2532"/>
        <a:ext cx="3368186" cy="2020911"/>
      </dsp:txXfrm>
    </dsp:sp>
    <dsp:sp modelId="{06D0A693-A051-4414-8496-B52164DA914F}">
      <dsp:nvSpPr>
        <dsp:cNvPr id="0" name=""/>
        <dsp:cNvSpPr/>
      </dsp:nvSpPr>
      <dsp:spPr>
        <a:xfrm>
          <a:off x="924849" y="2360262"/>
          <a:ext cx="3368186" cy="202091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ctr" defTabSz="1555750">
            <a:lnSpc>
              <a:spcPct val="90000"/>
            </a:lnSpc>
            <a:spcBef>
              <a:spcPct val="0"/>
            </a:spcBef>
            <a:spcAft>
              <a:spcPct val="35000"/>
            </a:spcAft>
            <a:buNone/>
          </a:pPr>
          <a:r>
            <a:rPr lang="en-US" sz="3500" kern="1200">
              <a:latin typeface="+mj-lt"/>
            </a:rPr>
            <a:t>Su Número de Teléfono y/o </a:t>
          </a:r>
          <a:r>
            <a:rPr lang="en-US" sz="3500" kern="1200" err="1">
              <a:latin typeface="+mj-lt"/>
            </a:rPr>
            <a:t>Correo</a:t>
          </a:r>
          <a:r>
            <a:rPr lang="en-US" sz="3500" kern="1200">
              <a:latin typeface="+mj-lt"/>
            </a:rPr>
            <a:t> </a:t>
          </a:r>
          <a:r>
            <a:rPr lang="en-US" sz="3500" kern="1200" err="1">
              <a:latin typeface="+mj-lt"/>
            </a:rPr>
            <a:t>Electrónico</a:t>
          </a:r>
          <a:r>
            <a:rPr lang="en-US" sz="3500" kern="1200">
              <a:latin typeface="+mj-lt"/>
            </a:rPr>
            <a:t>. </a:t>
          </a:r>
        </a:p>
      </dsp:txBody>
      <dsp:txXfrm>
        <a:off x="924849" y="2360262"/>
        <a:ext cx="3368186" cy="2020911"/>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D0A693-A051-4414-8496-B52164DA914F}">
      <dsp:nvSpPr>
        <dsp:cNvPr id="0" name=""/>
        <dsp:cNvSpPr/>
      </dsp:nvSpPr>
      <dsp:spPr>
        <a:xfrm>
          <a:off x="636" y="577187"/>
          <a:ext cx="2484101" cy="149046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a:latin typeface="+mj-lt"/>
            </a:rPr>
            <a:t>Necesitarás tu propio correo electrónico.</a:t>
          </a:r>
          <a:endParaRPr lang="en-US" sz="2900" kern="1200">
            <a:latin typeface="+mj-lt"/>
          </a:endParaRPr>
        </a:p>
      </dsp:txBody>
      <dsp:txXfrm>
        <a:off x="636" y="577187"/>
        <a:ext cx="2484101" cy="1490460"/>
      </dsp:txXfrm>
    </dsp:sp>
    <dsp:sp modelId="{6A19E8F0-35C1-4384-A1A4-DAD9A3F4ECE2}">
      <dsp:nvSpPr>
        <dsp:cNvPr id="0" name=""/>
        <dsp:cNvSpPr/>
      </dsp:nvSpPr>
      <dsp:spPr>
        <a:xfrm>
          <a:off x="2733148" y="577187"/>
          <a:ext cx="2484101" cy="149046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kern="1200">
              <a:latin typeface="+mj-lt"/>
            </a:rPr>
            <a:t>WASFA está disponible en Inglés y Español.</a:t>
          </a:r>
          <a:endParaRPr lang="en-US" sz="2900" kern="1200">
            <a:latin typeface="+mj-lt"/>
          </a:endParaRPr>
        </a:p>
      </dsp:txBody>
      <dsp:txXfrm>
        <a:off x="2733148" y="577187"/>
        <a:ext cx="2484101" cy="1490460"/>
      </dsp:txXfrm>
    </dsp:sp>
    <dsp:sp modelId="{8005E11E-08E3-4868-A6C9-F4B962A0FA44}">
      <dsp:nvSpPr>
        <dsp:cNvPr id="0" name=""/>
        <dsp:cNvSpPr/>
      </dsp:nvSpPr>
      <dsp:spPr>
        <a:xfrm>
          <a:off x="1366892" y="2316058"/>
          <a:ext cx="2484101" cy="149046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n-US" sz="2900" kern="1200" err="1">
              <a:latin typeface="+mj-lt"/>
            </a:rPr>
            <a:t>Necesitarás</a:t>
          </a:r>
          <a:r>
            <a:rPr lang="en-US" sz="2900" kern="1200">
              <a:latin typeface="+mj-lt"/>
            </a:rPr>
            <a:t> </a:t>
          </a:r>
          <a:r>
            <a:rPr lang="en-US" sz="2900" kern="1200" err="1">
              <a:latin typeface="+mj-lt"/>
            </a:rPr>
            <a:t>acceso</a:t>
          </a:r>
          <a:r>
            <a:rPr lang="en-US" sz="2900" kern="1200">
              <a:latin typeface="+mj-lt"/>
            </a:rPr>
            <a:t> al internet.</a:t>
          </a:r>
        </a:p>
      </dsp:txBody>
      <dsp:txXfrm>
        <a:off x="1366892" y="2316058"/>
        <a:ext cx="2484101" cy="149046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3CD1AD-158A-4C39-AECB-B1F1A112361C}">
      <dsp:nvSpPr>
        <dsp:cNvPr id="0" name=""/>
        <dsp:cNvSpPr/>
      </dsp:nvSpPr>
      <dsp:spPr>
        <a:xfrm>
          <a:off x="0" y="3287"/>
          <a:ext cx="11452484" cy="73246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s-ES" sz="2400" kern="1200">
              <a:latin typeface="+mj-lt"/>
            </a:rPr>
            <a:t>Su licencia de conducir, o identificación estatal. (Si tienes una).</a:t>
          </a:r>
          <a:endParaRPr lang="en-US" sz="2400" kern="1200">
            <a:latin typeface="+mj-lt"/>
          </a:endParaRPr>
        </a:p>
      </dsp:txBody>
      <dsp:txXfrm>
        <a:off x="35756" y="39043"/>
        <a:ext cx="11380972" cy="660951"/>
      </dsp:txXfrm>
    </dsp:sp>
    <dsp:sp modelId="{FDF70A32-6E3E-4ACC-AD26-AA38C8657881}">
      <dsp:nvSpPr>
        <dsp:cNvPr id="0" name=""/>
        <dsp:cNvSpPr/>
      </dsp:nvSpPr>
      <dsp:spPr>
        <a:xfrm>
          <a:off x="0" y="746846"/>
          <a:ext cx="11452484" cy="73246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kern="1200">
              <a:latin typeface="+mj-lt"/>
            </a:rPr>
            <a:t>Su información de ingresos.</a:t>
          </a:r>
        </a:p>
      </dsp:txBody>
      <dsp:txXfrm>
        <a:off x="35756" y="782602"/>
        <a:ext cx="11380972" cy="660951"/>
      </dsp:txXfrm>
    </dsp:sp>
    <dsp:sp modelId="{DC49D098-172A-43A4-8A6E-1BE9F151DFC7}">
      <dsp:nvSpPr>
        <dsp:cNvPr id="0" name=""/>
        <dsp:cNvSpPr/>
      </dsp:nvSpPr>
      <dsp:spPr>
        <a:xfrm>
          <a:off x="0" y="1479310"/>
          <a:ext cx="11452484" cy="6727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6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s-ES" sz="2000" kern="1200">
              <a:latin typeface="+mj-lt"/>
            </a:rPr>
            <a:t>Esto incluye estados de cuenta bancarias, la W-2, o un talón de cheque y una declaración de impuestos del 2022, si corresponde.</a:t>
          </a:r>
          <a:endParaRPr lang="en-US" sz="2000" kern="1200">
            <a:latin typeface="+mj-lt"/>
          </a:endParaRPr>
        </a:p>
      </dsp:txBody>
      <dsp:txXfrm>
        <a:off x="0" y="1479310"/>
        <a:ext cx="11452484" cy="672773"/>
      </dsp:txXfrm>
    </dsp:sp>
    <dsp:sp modelId="{52A85D97-90FE-4AC5-8263-9B3C62782FC4}">
      <dsp:nvSpPr>
        <dsp:cNvPr id="0" name=""/>
        <dsp:cNvSpPr/>
      </dsp:nvSpPr>
      <dsp:spPr>
        <a:xfrm>
          <a:off x="0" y="2152084"/>
          <a:ext cx="11452484" cy="73246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s-ES" sz="2400" kern="1200">
              <a:latin typeface="+mj-lt"/>
            </a:rPr>
            <a:t>Lo más probable es que sus padres necesiten proporcionar información, si tienes 24 años, o menos.</a:t>
          </a:r>
          <a:endParaRPr lang="en-US" sz="2400" kern="1200">
            <a:latin typeface="+mj-lt"/>
          </a:endParaRPr>
        </a:p>
      </dsp:txBody>
      <dsp:txXfrm>
        <a:off x="35756" y="2187840"/>
        <a:ext cx="11380972" cy="660951"/>
      </dsp:txXfrm>
    </dsp:sp>
    <dsp:sp modelId="{79C8AD4F-4F73-4D39-A805-08CB8B5F908A}">
      <dsp:nvSpPr>
        <dsp:cNvPr id="0" name=""/>
        <dsp:cNvSpPr/>
      </dsp:nvSpPr>
      <dsp:spPr>
        <a:xfrm>
          <a:off x="0" y="2884548"/>
          <a:ext cx="11452484" cy="5400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6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s-ES" sz="2000" kern="1200">
              <a:latin typeface="+mj-lt"/>
            </a:rPr>
            <a:t>Esto incluye estados de cuenta bancarios, estados de manutención infantil, W-2, o talones de pago y una declaración de impuestos del 2022, si corresponde.</a:t>
          </a:r>
          <a:endParaRPr lang="en-US" sz="2000" kern="1200">
            <a:latin typeface="+mj-lt"/>
          </a:endParaRPr>
        </a:p>
      </dsp:txBody>
      <dsp:txXfrm>
        <a:off x="0" y="2884548"/>
        <a:ext cx="11452484" cy="540099"/>
      </dsp:txXfrm>
    </dsp:sp>
    <dsp:sp modelId="{57EEA118-2B00-4662-862F-C82E930C0746}">
      <dsp:nvSpPr>
        <dsp:cNvPr id="0" name=""/>
        <dsp:cNvSpPr/>
      </dsp:nvSpPr>
      <dsp:spPr>
        <a:xfrm>
          <a:off x="0" y="3424647"/>
          <a:ext cx="11452484" cy="732463"/>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s-ES" sz="2400" kern="1200">
              <a:latin typeface="+mj-lt"/>
            </a:rPr>
            <a:t>Los solicitantes de FAFSA también deben tener:</a:t>
          </a:r>
          <a:endParaRPr lang="en-US" sz="2400" kern="1200">
            <a:latin typeface="+mj-lt"/>
          </a:endParaRPr>
        </a:p>
      </dsp:txBody>
      <dsp:txXfrm>
        <a:off x="35756" y="3460403"/>
        <a:ext cx="11380972" cy="660951"/>
      </dsp:txXfrm>
    </dsp:sp>
    <dsp:sp modelId="{73FA54F6-54FF-4EBD-B291-1E77DBBCAE3D}">
      <dsp:nvSpPr>
        <dsp:cNvPr id="0" name=""/>
        <dsp:cNvSpPr/>
      </dsp:nvSpPr>
      <dsp:spPr>
        <a:xfrm>
          <a:off x="0" y="4157111"/>
          <a:ext cx="11452484" cy="1063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63616"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latin typeface="+mj-lt"/>
            </a:rPr>
            <a:t>Tu FSA ID y </a:t>
          </a:r>
          <a:r>
            <a:rPr lang="en-US" sz="2000" kern="1200" err="1">
              <a:latin typeface="+mj-lt"/>
            </a:rPr>
            <a:t>tus</a:t>
          </a:r>
          <a:r>
            <a:rPr lang="en-US" sz="2000" kern="1200">
              <a:latin typeface="+mj-lt"/>
            </a:rPr>
            <a:t> padres </a:t>
          </a:r>
          <a:r>
            <a:rPr lang="en-US" sz="2000" kern="1200" err="1">
              <a:latin typeface="+mj-lt"/>
            </a:rPr>
            <a:t>tambien</a:t>
          </a:r>
          <a:r>
            <a:rPr lang="en-US" sz="2000" kern="1200">
              <a:latin typeface="+mj-lt"/>
            </a:rPr>
            <a:t> deberán de </a:t>
          </a:r>
          <a:r>
            <a:rPr lang="en-US" sz="2000" kern="1200" err="1">
              <a:latin typeface="+mj-lt"/>
            </a:rPr>
            <a:t>crear</a:t>
          </a:r>
          <a:r>
            <a:rPr lang="en-US" sz="2000" kern="1200">
              <a:latin typeface="+mj-lt"/>
            </a:rPr>
            <a:t> un FSA ID.</a:t>
          </a:r>
        </a:p>
        <a:p>
          <a:pPr marL="228600" lvl="1" indent="-228600" algn="l" defTabSz="889000">
            <a:lnSpc>
              <a:spcPct val="90000"/>
            </a:lnSpc>
            <a:spcBef>
              <a:spcPct val="0"/>
            </a:spcBef>
            <a:spcAft>
              <a:spcPct val="20000"/>
            </a:spcAft>
            <a:buChar char="•"/>
          </a:pPr>
          <a:r>
            <a:rPr lang="es-ES" sz="2000" kern="1200">
              <a:latin typeface="+mj-lt"/>
            </a:rPr>
            <a:t>Su Tarjeta de Seguro Social o tarjeta de residencia legal.</a:t>
          </a:r>
          <a:r>
            <a:rPr lang="en-US" sz="2000" kern="1200">
              <a:latin typeface="+mj-lt"/>
            </a:rPr>
            <a:t> </a:t>
          </a:r>
        </a:p>
        <a:p>
          <a:pPr marL="228600" lvl="1" indent="-228600" algn="l" defTabSz="889000">
            <a:lnSpc>
              <a:spcPct val="90000"/>
            </a:lnSpc>
            <a:spcBef>
              <a:spcPct val="0"/>
            </a:spcBef>
            <a:spcAft>
              <a:spcPct val="20000"/>
            </a:spcAft>
            <a:buChar char="•"/>
          </a:pPr>
          <a:r>
            <a:rPr lang="es-ES" sz="2000" kern="1200">
              <a:latin typeface="+mj-lt"/>
            </a:rPr>
            <a:t>Número de Seguro Social de los padres (si tienen).</a:t>
          </a:r>
          <a:endParaRPr lang="en-US" sz="2000" kern="1200">
            <a:latin typeface="+mj-lt"/>
          </a:endParaRPr>
        </a:p>
      </dsp:txBody>
      <dsp:txXfrm>
        <a:off x="0" y="4157111"/>
        <a:ext cx="11452484" cy="106367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48AAA6-5767-4857-8F42-A50639916294}">
      <dsp:nvSpPr>
        <dsp:cNvPr id="0" name=""/>
        <dsp:cNvSpPr/>
      </dsp:nvSpPr>
      <dsp:spPr>
        <a:xfrm>
          <a:off x="3035000" y="-2112"/>
          <a:ext cx="5072507" cy="5072507"/>
        </a:xfrm>
        <a:prstGeom prst="circularArrow">
          <a:avLst>
            <a:gd name="adj1" fmla="val 5274"/>
            <a:gd name="adj2" fmla="val 312630"/>
            <a:gd name="adj3" fmla="val 14198625"/>
            <a:gd name="adj4" fmla="val 17144305"/>
            <a:gd name="adj5" fmla="val 5477"/>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96097A1-E9A3-459B-9481-0CFB1C7A4168}">
      <dsp:nvSpPr>
        <dsp:cNvPr id="0" name=""/>
        <dsp:cNvSpPr/>
      </dsp:nvSpPr>
      <dsp:spPr>
        <a:xfrm>
          <a:off x="4590897" y="3679"/>
          <a:ext cx="1960712" cy="980356"/>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err="1">
              <a:latin typeface="+mj-lt"/>
            </a:rPr>
            <a:t>Reunir</a:t>
          </a:r>
          <a:r>
            <a:rPr lang="en-US" sz="1600" kern="1200">
              <a:latin typeface="+mj-lt"/>
            </a:rPr>
            <a:t> </a:t>
          </a:r>
          <a:r>
            <a:rPr lang="en-US" sz="1600" kern="1200" err="1">
              <a:latin typeface="+mj-lt"/>
            </a:rPr>
            <a:t>los</a:t>
          </a:r>
          <a:r>
            <a:rPr lang="en-US" sz="1600" kern="1200">
              <a:latin typeface="+mj-lt"/>
            </a:rPr>
            <a:t> </a:t>
          </a:r>
          <a:r>
            <a:rPr lang="en-US" sz="1600" kern="1200" err="1">
              <a:latin typeface="+mj-lt"/>
            </a:rPr>
            <a:t>documentos</a:t>
          </a:r>
          <a:r>
            <a:rPr lang="en-US" sz="1600" kern="1200">
              <a:latin typeface="+mj-lt"/>
            </a:rPr>
            <a:t> </a:t>
          </a:r>
          <a:r>
            <a:rPr lang="en-US" sz="1600" kern="1200" err="1">
              <a:latin typeface="+mj-lt"/>
            </a:rPr>
            <a:t>requeridos</a:t>
          </a:r>
          <a:r>
            <a:rPr lang="en-US" sz="1600" kern="1200">
              <a:latin typeface="+mj-lt"/>
            </a:rPr>
            <a:t>.</a:t>
          </a:r>
        </a:p>
      </dsp:txBody>
      <dsp:txXfrm>
        <a:off x="4638754" y="51536"/>
        <a:ext cx="1864998" cy="884642"/>
      </dsp:txXfrm>
    </dsp:sp>
    <dsp:sp modelId="{17A59CB3-C312-4804-9B27-E9EC7480DFA6}">
      <dsp:nvSpPr>
        <dsp:cNvPr id="0" name=""/>
        <dsp:cNvSpPr/>
      </dsp:nvSpPr>
      <dsp:spPr>
        <a:xfrm>
          <a:off x="6373015" y="1032585"/>
          <a:ext cx="1960712" cy="980356"/>
        </a:xfrm>
        <a:prstGeom prst="roundRect">
          <a:avLst/>
        </a:prstGeom>
        <a:solidFill>
          <a:schemeClr val="accent2">
            <a:hueOff val="-1275536"/>
            <a:satOff val="-4258"/>
            <a:lumOff val="-1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a:latin typeface="+mj-lt"/>
            </a:rPr>
            <a:t>Crear un FSA ID, o una cuenta de WASFA (solo se crea una vez).</a:t>
          </a:r>
          <a:endParaRPr lang="en-US" sz="1600" kern="1200">
            <a:latin typeface="+mj-lt"/>
          </a:endParaRPr>
        </a:p>
      </dsp:txBody>
      <dsp:txXfrm>
        <a:off x="6420872" y="1080442"/>
        <a:ext cx="1864998" cy="884642"/>
      </dsp:txXfrm>
    </dsp:sp>
    <dsp:sp modelId="{0440F1AF-C7BA-4479-9D19-310F3CA5BB3E}">
      <dsp:nvSpPr>
        <dsp:cNvPr id="0" name=""/>
        <dsp:cNvSpPr/>
      </dsp:nvSpPr>
      <dsp:spPr>
        <a:xfrm>
          <a:off x="6358651" y="2860701"/>
          <a:ext cx="1960712" cy="980356"/>
        </a:xfrm>
        <a:prstGeom prst="roundRect">
          <a:avLst/>
        </a:prstGeom>
        <a:solidFill>
          <a:schemeClr val="accent2">
            <a:hueOff val="-2551072"/>
            <a:satOff val="-8516"/>
            <a:lumOff val="-39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a:latin typeface="+mj-lt"/>
            </a:rPr>
            <a:t>FAFSA y WASFA abren en </a:t>
          </a:r>
          <a:endParaRPr lang="en-US" sz="1600" kern="1200">
            <a:latin typeface="+mj-lt"/>
          </a:endParaRPr>
        </a:p>
        <a:p>
          <a:pPr marL="0" lvl="0" indent="0" algn="ctr" defTabSz="711200">
            <a:lnSpc>
              <a:spcPct val="90000"/>
            </a:lnSpc>
            <a:spcBef>
              <a:spcPct val="0"/>
            </a:spcBef>
            <a:spcAft>
              <a:spcPct val="35000"/>
            </a:spcAft>
            <a:buNone/>
          </a:pPr>
          <a:r>
            <a:rPr lang="en-US" sz="1600" kern="1200" err="1">
              <a:latin typeface="+mj-lt"/>
            </a:rPr>
            <a:t>diciembre</a:t>
          </a:r>
          <a:r>
            <a:rPr lang="es-ES" sz="1600" kern="1200">
              <a:latin typeface="+mj-lt"/>
            </a:rPr>
            <a:t>.</a:t>
          </a:r>
          <a:endParaRPr lang="en-US" sz="1600" kern="1200">
            <a:latin typeface="+mj-lt"/>
          </a:endParaRPr>
        </a:p>
      </dsp:txBody>
      <dsp:txXfrm>
        <a:off x="6406508" y="2908558"/>
        <a:ext cx="1864998" cy="884642"/>
      </dsp:txXfrm>
    </dsp:sp>
    <dsp:sp modelId="{80E7C151-8990-41C0-81F8-D11135D6AA76}">
      <dsp:nvSpPr>
        <dsp:cNvPr id="0" name=""/>
        <dsp:cNvSpPr/>
      </dsp:nvSpPr>
      <dsp:spPr>
        <a:xfrm>
          <a:off x="4590897" y="4119304"/>
          <a:ext cx="1960712" cy="980356"/>
        </a:xfrm>
        <a:prstGeom prst="roundRect">
          <a:avLst/>
        </a:prstGeom>
        <a:solidFill>
          <a:schemeClr val="accent2">
            <a:hueOff val="-3826608"/>
            <a:satOff val="-12773"/>
            <a:lumOff val="-5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a:latin typeface="+mj-lt"/>
            </a:rPr>
            <a:t>Los estudiantes solicitan ayuda financiera y admisiones</a:t>
          </a:r>
          <a:r>
            <a:rPr lang="es-ES" sz="1400" kern="1200">
              <a:latin typeface="+mj-lt"/>
            </a:rPr>
            <a:t>.</a:t>
          </a:r>
          <a:endParaRPr lang="en-US" sz="1400" kern="1200">
            <a:latin typeface="+mj-lt"/>
          </a:endParaRPr>
        </a:p>
      </dsp:txBody>
      <dsp:txXfrm>
        <a:off x="4638754" y="4167161"/>
        <a:ext cx="1864998" cy="884642"/>
      </dsp:txXfrm>
    </dsp:sp>
    <dsp:sp modelId="{EA2AA3E0-8A65-4ACE-8A69-98A580E15AFC}">
      <dsp:nvSpPr>
        <dsp:cNvPr id="0" name=""/>
        <dsp:cNvSpPr/>
      </dsp:nvSpPr>
      <dsp:spPr>
        <a:xfrm>
          <a:off x="2552211" y="2877858"/>
          <a:ext cx="2272877" cy="946023"/>
        </a:xfrm>
        <a:prstGeom prst="roundRect">
          <a:avLst/>
        </a:prstGeom>
        <a:solidFill>
          <a:schemeClr val="accent2">
            <a:hueOff val="-5102144"/>
            <a:satOff val="-17031"/>
            <a:lumOff val="-78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a:latin typeface="+mj-lt"/>
            </a:rPr>
            <a:t>Haga un seguimiento con las universidades para cualquier solicitud adicional de información.</a:t>
          </a:r>
          <a:endParaRPr lang="en-US" sz="1600" kern="1200">
            <a:latin typeface="+mj-lt"/>
          </a:endParaRPr>
        </a:p>
      </dsp:txBody>
      <dsp:txXfrm>
        <a:off x="2598392" y="2924039"/>
        <a:ext cx="2180515" cy="853661"/>
      </dsp:txXfrm>
    </dsp:sp>
    <dsp:sp modelId="{AA458DA6-D0B9-443C-ABD5-12A7170BF190}">
      <dsp:nvSpPr>
        <dsp:cNvPr id="0" name=""/>
        <dsp:cNvSpPr/>
      </dsp:nvSpPr>
      <dsp:spPr>
        <a:xfrm>
          <a:off x="2808779" y="1032585"/>
          <a:ext cx="1960712" cy="980356"/>
        </a:xfrm>
        <a:prstGeom prst="roundRect">
          <a:avLst/>
        </a:prstGeom>
        <a:solidFill>
          <a:schemeClr val="accent2">
            <a:hueOff val="-6377680"/>
            <a:satOff val="-21289"/>
            <a:lumOff val="-9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s-ES" sz="1600" kern="1200">
              <a:latin typeface="+mj-lt"/>
            </a:rPr>
            <a:t>Revise sus cartas de adjudicación (apoyo) y acepte su ayuda.</a:t>
          </a:r>
          <a:endParaRPr lang="en-US" sz="1600" kern="1200">
            <a:latin typeface="+mj-lt"/>
          </a:endParaRPr>
        </a:p>
      </dsp:txBody>
      <dsp:txXfrm>
        <a:off x="2856636" y="1080442"/>
        <a:ext cx="1864998" cy="88464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FFE250-7FBD-437E-B88B-8186CAFCB872}">
      <dsp:nvSpPr>
        <dsp:cNvPr id="0" name=""/>
        <dsp:cNvSpPr/>
      </dsp:nvSpPr>
      <dsp:spPr>
        <a:xfrm>
          <a:off x="0" y="571499"/>
          <a:ext cx="3202911" cy="1921747"/>
        </a:xfrm>
        <a:prstGeom prst="rect">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b="0" i="0" kern="1200">
              <a:latin typeface="+mj-lt"/>
            </a:rPr>
            <a:t> FAFSA y WASFA 2024-25 estarán disponibles en diciembre</a:t>
          </a:r>
          <a:endParaRPr lang="en-US" sz="2400" kern="1200">
            <a:latin typeface="+mj-lt"/>
          </a:endParaRPr>
        </a:p>
      </dsp:txBody>
      <dsp:txXfrm>
        <a:off x="0" y="571499"/>
        <a:ext cx="3202911" cy="1921747"/>
      </dsp:txXfrm>
    </dsp:sp>
    <dsp:sp modelId="{24954EB3-C380-4182-B666-EEB6575BB82A}">
      <dsp:nvSpPr>
        <dsp:cNvPr id="0" name=""/>
        <dsp:cNvSpPr/>
      </dsp:nvSpPr>
      <dsp:spPr>
        <a:xfrm>
          <a:off x="3523203" y="571499"/>
          <a:ext cx="3202911" cy="192174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b="0" i="0" kern="1200">
              <a:latin typeface="+mj-lt"/>
            </a:rPr>
            <a:t>2025-26 y posteriores estarán disponibles en octubre</a:t>
          </a:r>
          <a:endParaRPr lang="en-US" sz="2400" kern="1200">
            <a:latin typeface="+mj-lt"/>
          </a:endParaRPr>
        </a:p>
      </dsp:txBody>
      <dsp:txXfrm>
        <a:off x="3523203" y="571499"/>
        <a:ext cx="3202911" cy="1921747"/>
      </dsp:txXfrm>
    </dsp:sp>
    <dsp:sp modelId="{2107CA9C-CC16-47C2-9DBB-B69B73877499}">
      <dsp:nvSpPr>
        <dsp:cNvPr id="0" name=""/>
        <dsp:cNvSpPr/>
      </dsp:nvSpPr>
      <dsp:spPr>
        <a:xfrm>
          <a:off x="7046406" y="571499"/>
          <a:ext cx="3202911" cy="1921747"/>
        </a:xfrm>
        <a:prstGeom prst="rect">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ES" sz="2400" kern="1200">
              <a:latin typeface="+mj-lt"/>
            </a:rPr>
            <a:t>La clase del 2024 completará la FAFSA o WASFA 2024-25 utilizando la información de ingresos de 2022.</a:t>
          </a:r>
          <a:endParaRPr lang="en-US" sz="2400" kern="1200">
            <a:latin typeface="+mj-lt"/>
          </a:endParaRPr>
        </a:p>
      </dsp:txBody>
      <dsp:txXfrm>
        <a:off x="7046406" y="571499"/>
        <a:ext cx="3202911" cy="192174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D5B654-FEB8-4E32-B746-763FB1A5A16A}">
      <dsp:nvSpPr>
        <dsp:cNvPr id="0" name=""/>
        <dsp:cNvSpPr/>
      </dsp:nvSpPr>
      <dsp:spPr>
        <a:xfrm>
          <a:off x="0" y="5946"/>
          <a:ext cx="2573991" cy="712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7584" tIns="81280" rIns="227584" bIns="81280" numCol="1" spcCol="1270" anchor="ctr" anchorCtr="0">
          <a:noAutofit/>
        </a:bodyPr>
        <a:lstStyle/>
        <a:p>
          <a:pPr marL="0" lvl="0" indent="0" algn="r" defTabSz="1422400">
            <a:lnSpc>
              <a:spcPct val="90000"/>
            </a:lnSpc>
            <a:spcBef>
              <a:spcPct val="0"/>
            </a:spcBef>
            <a:spcAft>
              <a:spcPct val="35000"/>
            </a:spcAft>
            <a:buNone/>
          </a:pPr>
          <a:r>
            <a:rPr lang="en-US" sz="3200" kern="1200" err="1">
              <a:latin typeface="+mj-lt"/>
            </a:rPr>
            <a:t>Subvenciones</a:t>
          </a:r>
          <a:endParaRPr lang="en-US" sz="3200" kern="1200">
            <a:latin typeface="+mj-lt"/>
          </a:endParaRPr>
        </a:p>
      </dsp:txBody>
      <dsp:txXfrm>
        <a:off x="0" y="5946"/>
        <a:ext cx="2573991" cy="712800"/>
      </dsp:txXfrm>
    </dsp:sp>
    <dsp:sp modelId="{2FD81F2E-18BD-4F16-8641-D95F02166BFA}">
      <dsp:nvSpPr>
        <dsp:cNvPr id="0" name=""/>
        <dsp:cNvSpPr/>
      </dsp:nvSpPr>
      <dsp:spPr>
        <a:xfrm>
          <a:off x="2573991" y="5946"/>
          <a:ext cx="514798" cy="712800"/>
        </a:xfrm>
        <a:prstGeom prst="leftBrace">
          <a:avLst>
            <a:gd name="adj1" fmla="val 35000"/>
            <a:gd name="adj2" fmla="val 5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703E705-0B03-4174-B8A0-7C6F22E6F6AD}">
      <dsp:nvSpPr>
        <dsp:cNvPr id="0" name=""/>
        <dsp:cNvSpPr/>
      </dsp:nvSpPr>
      <dsp:spPr>
        <a:xfrm>
          <a:off x="3294708" y="39334"/>
          <a:ext cx="7001256" cy="71280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s-ES" sz="2400" kern="1200">
              <a:latin typeface="+mj-lt"/>
            </a:rPr>
            <a:t>Basadas en los ingresos, federales y estatales. </a:t>
          </a:r>
          <a:endParaRPr lang="en-US" sz="2400" kern="1200">
            <a:latin typeface="+mj-lt"/>
          </a:endParaRPr>
        </a:p>
      </dsp:txBody>
      <dsp:txXfrm>
        <a:off x="3294708" y="39334"/>
        <a:ext cx="7001256" cy="712800"/>
      </dsp:txXfrm>
    </dsp:sp>
    <dsp:sp modelId="{56EE09C3-C486-4583-A78E-BBB2B30395F5}">
      <dsp:nvSpPr>
        <dsp:cNvPr id="0" name=""/>
        <dsp:cNvSpPr/>
      </dsp:nvSpPr>
      <dsp:spPr>
        <a:xfrm>
          <a:off x="0" y="892896"/>
          <a:ext cx="2573991" cy="712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7584" tIns="81280" rIns="227584" bIns="81280" numCol="1" spcCol="1270" anchor="ctr" anchorCtr="0">
          <a:noAutofit/>
        </a:bodyPr>
        <a:lstStyle/>
        <a:p>
          <a:pPr marL="0" lvl="0" indent="0" algn="r" defTabSz="1422400">
            <a:lnSpc>
              <a:spcPct val="90000"/>
            </a:lnSpc>
            <a:spcBef>
              <a:spcPct val="0"/>
            </a:spcBef>
            <a:spcAft>
              <a:spcPct val="35000"/>
            </a:spcAft>
            <a:buNone/>
          </a:pPr>
          <a:r>
            <a:rPr lang="en-US" sz="3200" kern="1200" err="1">
              <a:latin typeface="+mj-lt"/>
            </a:rPr>
            <a:t>Becas</a:t>
          </a:r>
          <a:endParaRPr lang="en-US" sz="3200" kern="1200">
            <a:latin typeface="+mj-lt"/>
          </a:endParaRPr>
        </a:p>
      </dsp:txBody>
      <dsp:txXfrm>
        <a:off x="0" y="892896"/>
        <a:ext cx="2573991" cy="712800"/>
      </dsp:txXfrm>
    </dsp:sp>
    <dsp:sp modelId="{91DF9F53-75B6-4E19-8D46-ABB4E2152961}">
      <dsp:nvSpPr>
        <dsp:cNvPr id="0" name=""/>
        <dsp:cNvSpPr/>
      </dsp:nvSpPr>
      <dsp:spPr>
        <a:xfrm>
          <a:off x="2573991" y="848346"/>
          <a:ext cx="514798" cy="801900"/>
        </a:xfrm>
        <a:prstGeom prst="leftBrace">
          <a:avLst>
            <a:gd name="adj1" fmla="val 35000"/>
            <a:gd name="adj2" fmla="val 5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BDBBDCF-8A60-4303-A17C-04E42FDD3835}">
      <dsp:nvSpPr>
        <dsp:cNvPr id="0" name=""/>
        <dsp:cNvSpPr/>
      </dsp:nvSpPr>
      <dsp:spPr>
        <a:xfrm>
          <a:off x="3294708" y="848346"/>
          <a:ext cx="7001256" cy="801900"/>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s-ES" sz="2400" kern="1200">
              <a:latin typeface="+mj-lt"/>
            </a:rPr>
            <a:t>Basadas en méritos e ingresos, de fuentes públicas, privadas y sin fines de lucro. </a:t>
          </a:r>
          <a:endParaRPr lang="en-US" sz="1800" kern="1200">
            <a:latin typeface="+mj-lt"/>
          </a:endParaRPr>
        </a:p>
      </dsp:txBody>
      <dsp:txXfrm>
        <a:off x="3294708" y="848346"/>
        <a:ext cx="7001256" cy="801900"/>
      </dsp:txXfrm>
    </dsp:sp>
    <dsp:sp modelId="{93403FB3-33D5-4C8B-AA32-D75B19FB710D}">
      <dsp:nvSpPr>
        <dsp:cNvPr id="0" name=""/>
        <dsp:cNvSpPr/>
      </dsp:nvSpPr>
      <dsp:spPr>
        <a:xfrm>
          <a:off x="0" y="1779847"/>
          <a:ext cx="2573991" cy="712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7584" tIns="81280" rIns="227584" bIns="81280" numCol="1" spcCol="1270" anchor="ctr" anchorCtr="0">
          <a:noAutofit/>
        </a:bodyPr>
        <a:lstStyle/>
        <a:p>
          <a:pPr marL="0" lvl="0" indent="0" algn="r" defTabSz="1422400">
            <a:lnSpc>
              <a:spcPct val="90000"/>
            </a:lnSpc>
            <a:spcBef>
              <a:spcPct val="0"/>
            </a:spcBef>
            <a:spcAft>
              <a:spcPct val="35000"/>
            </a:spcAft>
            <a:buNone/>
          </a:pPr>
          <a:r>
            <a:rPr lang="en-US" sz="3200" kern="1200">
              <a:latin typeface="+mj-lt"/>
            </a:rPr>
            <a:t>Préstamos</a:t>
          </a:r>
        </a:p>
      </dsp:txBody>
      <dsp:txXfrm>
        <a:off x="0" y="1779847"/>
        <a:ext cx="2573991" cy="712800"/>
      </dsp:txXfrm>
    </dsp:sp>
    <dsp:sp modelId="{F7CC5CB3-2D75-4147-BA7F-40D21C0E20E4}">
      <dsp:nvSpPr>
        <dsp:cNvPr id="0" name=""/>
        <dsp:cNvSpPr/>
      </dsp:nvSpPr>
      <dsp:spPr>
        <a:xfrm>
          <a:off x="2573991" y="1779847"/>
          <a:ext cx="514798" cy="712800"/>
        </a:xfrm>
        <a:prstGeom prst="leftBrace">
          <a:avLst>
            <a:gd name="adj1" fmla="val 35000"/>
            <a:gd name="adj2" fmla="val 5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D63E467-6CB0-4EB5-A08F-BC86FE6758EF}">
      <dsp:nvSpPr>
        <dsp:cNvPr id="0" name=""/>
        <dsp:cNvSpPr/>
      </dsp:nvSpPr>
      <dsp:spPr>
        <a:xfrm>
          <a:off x="3294708" y="1779847"/>
          <a:ext cx="7001256" cy="712800"/>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s-ES" sz="2400" kern="1200">
              <a:latin typeface="+mj-lt"/>
            </a:rPr>
            <a:t>Basados en ingresos, federales y privados. </a:t>
          </a:r>
          <a:endParaRPr lang="en-US" sz="2400" kern="1200">
            <a:latin typeface="+mj-lt"/>
          </a:endParaRPr>
        </a:p>
      </dsp:txBody>
      <dsp:txXfrm>
        <a:off x="3294708" y="1779847"/>
        <a:ext cx="7001256" cy="712800"/>
      </dsp:txXfrm>
    </dsp:sp>
    <dsp:sp modelId="{23100991-60CA-4572-8BDF-8E00DA802B54}">
      <dsp:nvSpPr>
        <dsp:cNvPr id="0" name=""/>
        <dsp:cNvSpPr/>
      </dsp:nvSpPr>
      <dsp:spPr>
        <a:xfrm>
          <a:off x="0" y="2622246"/>
          <a:ext cx="2573991" cy="9801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7584" tIns="81280" rIns="227584" bIns="81280" numCol="1" spcCol="1270" anchor="ctr" anchorCtr="0">
          <a:noAutofit/>
        </a:bodyPr>
        <a:lstStyle/>
        <a:p>
          <a:pPr marL="0" lvl="0" indent="0" algn="r" defTabSz="1422400">
            <a:lnSpc>
              <a:spcPct val="90000"/>
            </a:lnSpc>
            <a:spcBef>
              <a:spcPct val="0"/>
            </a:spcBef>
            <a:spcAft>
              <a:spcPct val="35000"/>
            </a:spcAft>
            <a:buNone/>
          </a:pPr>
          <a:r>
            <a:rPr lang="en-US" sz="3200" kern="1200" err="1">
              <a:latin typeface="+mj-lt"/>
            </a:rPr>
            <a:t>Trabajo</a:t>
          </a:r>
          <a:r>
            <a:rPr lang="en-US" sz="3200" kern="1200">
              <a:latin typeface="+mj-lt"/>
            </a:rPr>
            <a:t> y </a:t>
          </a:r>
          <a:r>
            <a:rPr lang="en-US" sz="3200" kern="1200" err="1">
              <a:latin typeface="+mj-lt"/>
            </a:rPr>
            <a:t>Estudio</a:t>
          </a:r>
          <a:endParaRPr lang="en-US" sz="3200" kern="1200">
            <a:latin typeface="+mj-lt"/>
          </a:endParaRPr>
        </a:p>
      </dsp:txBody>
      <dsp:txXfrm>
        <a:off x="0" y="2622246"/>
        <a:ext cx="2573991" cy="980100"/>
      </dsp:txXfrm>
    </dsp:sp>
    <dsp:sp modelId="{467119F5-1DD1-4F75-BADB-387AD4E21238}">
      <dsp:nvSpPr>
        <dsp:cNvPr id="0" name=""/>
        <dsp:cNvSpPr/>
      </dsp:nvSpPr>
      <dsp:spPr>
        <a:xfrm>
          <a:off x="2573991" y="2622246"/>
          <a:ext cx="514798" cy="980100"/>
        </a:xfrm>
        <a:prstGeom prst="leftBrace">
          <a:avLst>
            <a:gd name="adj1" fmla="val 35000"/>
            <a:gd name="adj2" fmla="val 50000"/>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F2AEA0C-0AE6-4728-B17D-AB8E113EB58C}">
      <dsp:nvSpPr>
        <dsp:cNvPr id="0" name=""/>
        <dsp:cNvSpPr/>
      </dsp:nvSpPr>
      <dsp:spPr>
        <a:xfrm>
          <a:off x="3294708" y="2628193"/>
          <a:ext cx="7001256" cy="980100"/>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228600" lvl="1" indent="-228600" algn="l" defTabSz="1066800">
            <a:lnSpc>
              <a:spcPct val="90000"/>
            </a:lnSpc>
            <a:spcBef>
              <a:spcPct val="0"/>
            </a:spcBef>
            <a:spcAft>
              <a:spcPct val="15000"/>
            </a:spcAft>
            <a:buChar char="•"/>
          </a:pPr>
          <a:r>
            <a:rPr lang="es-ES" sz="2400" kern="1200">
              <a:latin typeface="+mj-lt"/>
            </a:rPr>
            <a:t>Basado en ingresos, federal y estatal.</a:t>
          </a:r>
          <a:endParaRPr lang="en-US" sz="2400" kern="1200">
            <a:latin typeface="+mj-lt"/>
          </a:endParaRPr>
        </a:p>
      </dsp:txBody>
      <dsp:txXfrm>
        <a:off x="3294708" y="2628193"/>
        <a:ext cx="7001256" cy="980100"/>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A3AFAA-53F2-4C54-B9E3-FA8B49733DE0}">
      <dsp:nvSpPr>
        <dsp:cNvPr id="0" name=""/>
        <dsp:cNvSpPr/>
      </dsp:nvSpPr>
      <dsp:spPr>
        <a:xfrm>
          <a:off x="0" y="4142"/>
          <a:ext cx="10655461" cy="61775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n-US" sz="2900" b="1" kern="1200">
              <a:latin typeface="+mj-lt"/>
            </a:rPr>
            <a:t>Explore Sus </a:t>
          </a:r>
          <a:r>
            <a:rPr lang="en-US" sz="2900" b="1" kern="1200" err="1">
              <a:latin typeface="+mj-lt"/>
            </a:rPr>
            <a:t>Opciones</a:t>
          </a:r>
          <a:endParaRPr lang="en-US" sz="2900" kern="1200">
            <a:latin typeface="+mj-lt"/>
          </a:endParaRPr>
        </a:p>
      </dsp:txBody>
      <dsp:txXfrm>
        <a:off x="30157" y="34299"/>
        <a:ext cx="10595147" cy="557445"/>
      </dsp:txXfrm>
    </dsp:sp>
    <dsp:sp modelId="{BF138AA0-5502-497B-9C4D-98F7D5EC4CE2}">
      <dsp:nvSpPr>
        <dsp:cNvPr id="0" name=""/>
        <dsp:cNvSpPr/>
      </dsp:nvSpPr>
      <dsp:spPr>
        <a:xfrm>
          <a:off x="0" y="621902"/>
          <a:ext cx="10655461" cy="1311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8311"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s-ES" sz="2400" kern="1200">
              <a:solidFill>
                <a:schemeClr val="tx1"/>
              </a:solidFill>
              <a:latin typeface="+mj-lt"/>
            </a:rPr>
            <a:t>Explore sus opciones después de la escuela preparatoria usando su plan de la escuela </a:t>
          </a:r>
          <a:r>
            <a:rPr lang="es-ES" sz="2400" kern="1200" err="1">
              <a:solidFill>
                <a:schemeClr val="tx1"/>
              </a:solidFill>
              <a:latin typeface="+mj-lt"/>
            </a:rPr>
            <a:t>prepartoria</a:t>
          </a:r>
          <a:r>
            <a:rPr lang="es-ES" sz="2400" kern="1200">
              <a:solidFill>
                <a:schemeClr val="tx1"/>
              </a:solidFill>
              <a:latin typeface="+mj-lt"/>
            </a:rPr>
            <a:t> y más allá (High </a:t>
          </a:r>
          <a:r>
            <a:rPr lang="es-ES" sz="2400" kern="1200" err="1">
              <a:solidFill>
                <a:schemeClr val="tx1"/>
              </a:solidFill>
              <a:latin typeface="+mj-lt"/>
            </a:rPr>
            <a:t>School</a:t>
          </a:r>
          <a:r>
            <a:rPr lang="es-ES" sz="2400" kern="1200">
              <a:solidFill>
                <a:schemeClr val="tx1"/>
              </a:solidFill>
              <a:latin typeface="+mj-lt"/>
            </a:rPr>
            <a:t> and </a:t>
          </a:r>
          <a:r>
            <a:rPr lang="es-ES" sz="2400" kern="1200" err="1">
              <a:solidFill>
                <a:schemeClr val="tx1"/>
              </a:solidFill>
              <a:latin typeface="+mj-lt"/>
            </a:rPr>
            <a:t>Beyond</a:t>
          </a:r>
          <a:r>
            <a:rPr lang="es-ES" sz="2400" kern="1200">
              <a:solidFill>
                <a:schemeClr val="tx1"/>
              </a:solidFill>
              <a:latin typeface="+mj-lt"/>
            </a:rPr>
            <a:t> Plan).</a:t>
          </a:r>
          <a:endParaRPr lang="en-US" sz="2400" kern="1200">
            <a:solidFill>
              <a:schemeClr val="tx1"/>
            </a:solidFill>
            <a:latin typeface="+mj-lt"/>
          </a:endParaRPr>
        </a:p>
        <a:p>
          <a:pPr marL="228600" lvl="1" indent="-228600" algn="l" defTabSz="1066800">
            <a:lnSpc>
              <a:spcPct val="90000"/>
            </a:lnSpc>
            <a:spcBef>
              <a:spcPct val="0"/>
            </a:spcBef>
            <a:spcAft>
              <a:spcPct val="20000"/>
            </a:spcAft>
            <a:buChar char="•"/>
          </a:pPr>
          <a:r>
            <a:rPr lang="es-ES" sz="2400" kern="1200">
              <a:solidFill>
                <a:schemeClr val="tx1"/>
              </a:solidFill>
              <a:latin typeface="+mj-lt"/>
            </a:rPr>
            <a:t>Hable con su consejero para asegurarse de que va por buen camino para graduarse.</a:t>
          </a:r>
          <a:endParaRPr lang="en-US" sz="2400" kern="1200">
            <a:solidFill>
              <a:schemeClr val="tx1"/>
            </a:solidFill>
            <a:latin typeface="+mj-lt"/>
          </a:endParaRPr>
        </a:p>
      </dsp:txBody>
      <dsp:txXfrm>
        <a:off x="0" y="621902"/>
        <a:ext cx="10655461" cy="1311550"/>
      </dsp:txXfrm>
    </dsp:sp>
    <dsp:sp modelId="{2099A795-71E5-4A02-A6E5-DC626EEF8EB1}">
      <dsp:nvSpPr>
        <dsp:cNvPr id="0" name=""/>
        <dsp:cNvSpPr/>
      </dsp:nvSpPr>
      <dsp:spPr>
        <a:xfrm>
          <a:off x="0" y="1933452"/>
          <a:ext cx="10655461" cy="617759"/>
        </a:xfrm>
        <a:prstGeom prst="roundRect">
          <a:avLst/>
        </a:prstGeom>
        <a:solidFill>
          <a:schemeClr val="accent3">
            <a:hueOff val="3295225"/>
            <a:satOff val="-22344"/>
            <a:lumOff val="1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s-ES" sz="2900" b="1" kern="1200">
              <a:latin typeface="+mj-lt"/>
            </a:rPr>
            <a:t>Determine qué Solicitud de Ayuda Financiera Usar</a:t>
          </a:r>
          <a:endParaRPr lang="en-US" sz="2900" b="1" kern="1200">
            <a:latin typeface="+mj-lt"/>
          </a:endParaRPr>
        </a:p>
      </dsp:txBody>
      <dsp:txXfrm>
        <a:off x="30157" y="1963609"/>
        <a:ext cx="10595147" cy="557445"/>
      </dsp:txXfrm>
    </dsp:sp>
    <dsp:sp modelId="{1916CE61-746D-47C9-BB0B-FE8E513C8842}">
      <dsp:nvSpPr>
        <dsp:cNvPr id="0" name=""/>
        <dsp:cNvSpPr/>
      </dsp:nvSpPr>
      <dsp:spPr>
        <a:xfrm>
          <a:off x="0" y="2551212"/>
          <a:ext cx="10655461" cy="6557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8311"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s-ES" sz="2400" kern="1200">
              <a:solidFill>
                <a:schemeClr val="tx1"/>
              </a:solidFill>
              <a:latin typeface="+mj-lt"/>
            </a:rPr>
            <a:t>Si no está seguro de qué solicitud completar, vaya a </a:t>
          </a:r>
          <a:r>
            <a:rPr lang="es-ES" sz="2400" kern="1200">
              <a:solidFill>
                <a:schemeClr val="tx1"/>
              </a:solidFill>
              <a:latin typeface="+mj-lt"/>
              <a:hlinkClick xmlns:r="http://schemas.openxmlformats.org/officeDocument/2006/relationships" r:id="rId1"/>
            </a:rPr>
            <a:t>https://wsac.wa.gov/WASFAelig</a:t>
          </a:r>
          <a:endParaRPr lang="en-US" sz="2400" kern="1200">
            <a:solidFill>
              <a:schemeClr val="tx1"/>
            </a:solidFill>
            <a:latin typeface="+mj-lt"/>
          </a:endParaRPr>
        </a:p>
      </dsp:txBody>
      <dsp:txXfrm>
        <a:off x="0" y="2551212"/>
        <a:ext cx="10655461" cy="655775"/>
      </dsp:txXfrm>
    </dsp:sp>
    <dsp:sp modelId="{B5556ADA-735F-4649-B9B9-6CA786496CB1}">
      <dsp:nvSpPr>
        <dsp:cNvPr id="0" name=""/>
        <dsp:cNvSpPr/>
      </dsp:nvSpPr>
      <dsp:spPr>
        <a:xfrm>
          <a:off x="0" y="3206987"/>
          <a:ext cx="10655461" cy="617759"/>
        </a:xfrm>
        <a:prstGeom prst="roundRect">
          <a:avLst/>
        </a:prstGeom>
        <a:solidFill>
          <a:schemeClr val="accent3">
            <a:hueOff val="6590450"/>
            <a:satOff val="-44688"/>
            <a:lumOff val="2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es-ES" sz="2900" b="1" kern="1200">
              <a:latin typeface="+mj-lt"/>
            </a:rPr>
            <a:t>Crear una Cuenta FSA ID o WASFA</a:t>
          </a:r>
          <a:endParaRPr lang="en-US" sz="2900" b="1" kern="1200">
            <a:latin typeface="+mj-lt"/>
          </a:endParaRPr>
        </a:p>
      </dsp:txBody>
      <dsp:txXfrm>
        <a:off x="30157" y="3237144"/>
        <a:ext cx="10595147" cy="557445"/>
      </dsp:txXfrm>
    </dsp:sp>
    <dsp:sp modelId="{EEA0FB78-A39F-4CFC-A2B8-BE368588EEC0}">
      <dsp:nvSpPr>
        <dsp:cNvPr id="0" name=""/>
        <dsp:cNvSpPr/>
      </dsp:nvSpPr>
      <dsp:spPr>
        <a:xfrm>
          <a:off x="0" y="3824747"/>
          <a:ext cx="10655461" cy="10747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8311" tIns="30480" rIns="170688" bIns="30480" numCol="1" spcCol="1270" anchor="t" anchorCtr="0">
          <a:noAutofit/>
        </a:bodyPr>
        <a:lstStyle/>
        <a:p>
          <a:pPr marL="228600" lvl="1" indent="-228600" algn="l" defTabSz="1066800">
            <a:lnSpc>
              <a:spcPct val="90000"/>
            </a:lnSpc>
            <a:spcBef>
              <a:spcPct val="0"/>
            </a:spcBef>
            <a:spcAft>
              <a:spcPct val="20000"/>
            </a:spcAft>
            <a:buChar char="•"/>
          </a:pPr>
          <a:r>
            <a:rPr lang="es-ES" sz="2400" kern="1200">
              <a:solidFill>
                <a:schemeClr val="tx1"/>
              </a:solidFill>
              <a:latin typeface="+mj-lt"/>
            </a:rPr>
            <a:t>Puede crear un FSA ID yendo a </a:t>
          </a:r>
          <a:r>
            <a:rPr lang="es-ES" sz="2400" kern="1200">
              <a:solidFill>
                <a:schemeClr val="tx1"/>
              </a:solidFill>
              <a:latin typeface="+mj-lt"/>
              <a:hlinkClick xmlns:r="http://schemas.openxmlformats.org/officeDocument/2006/relationships" r:id="rId2"/>
            </a:rPr>
            <a:t>https://fsaid.ed.gov/npas/index.htm</a:t>
          </a:r>
          <a:endParaRPr lang="en-US" sz="2400" kern="1200">
            <a:solidFill>
              <a:schemeClr val="tx1"/>
            </a:solidFill>
            <a:latin typeface="+mj-lt"/>
          </a:endParaRPr>
        </a:p>
        <a:p>
          <a:pPr marL="228600" lvl="1" indent="-228600" algn="l" defTabSz="1066800">
            <a:lnSpc>
              <a:spcPct val="90000"/>
            </a:lnSpc>
            <a:spcBef>
              <a:spcPct val="0"/>
            </a:spcBef>
            <a:spcAft>
              <a:spcPct val="20000"/>
            </a:spcAft>
            <a:buChar char="•"/>
          </a:pPr>
          <a:r>
            <a:rPr lang="es-ES" sz="2400" kern="1200">
              <a:solidFill>
                <a:schemeClr val="tx1"/>
              </a:solidFill>
              <a:latin typeface="+mj-lt"/>
            </a:rPr>
            <a:t>Puede crear una cuenta WASFA yendo a </a:t>
          </a:r>
          <a:r>
            <a:rPr lang="en-US" sz="2400" kern="1200">
              <a:latin typeface="+mj-lt"/>
              <a:hlinkClick xmlns:r="http://schemas.openxmlformats.org/officeDocument/2006/relationships" r:id="rId3"/>
            </a:rPr>
            <a:t>https://wsac.wa.gov/WASFAelig</a:t>
          </a:r>
          <a:endParaRPr lang="en-US" sz="2400" kern="1200">
            <a:solidFill>
              <a:schemeClr val="tx1"/>
            </a:solidFill>
            <a:latin typeface="+mj-lt"/>
          </a:endParaRPr>
        </a:p>
        <a:p>
          <a:pPr marL="228600" lvl="1" indent="-228600" algn="l" defTabSz="1066800">
            <a:lnSpc>
              <a:spcPct val="90000"/>
            </a:lnSpc>
            <a:spcBef>
              <a:spcPct val="0"/>
            </a:spcBef>
            <a:spcAft>
              <a:spcPct val="20000"/>
            </a:spcAft>
            <a:buChar char="•"/>
          </a:pPr>
          <a:r>
            <a:rPr lang="es-ES" sz="2400" kern="1200">
              <a:solidFill>
                <a:schemeClr val="tx1"/>
              </a:solidFill>
              <a:latin typeface="+mj-lt"/>
            </a:rPr>
            <a:t>Complete su solicitud 2024-25 a partir de </a:t>
          </a:r>
          <a:r>
            <a:rPr lang="en-US" sz="2400" kern="1200" err="1">
              <a:solidFill>
                <a:schemeClr val="tx1"/>
              </a:solidFill>
              <a:latin typeface="+mj-lt"/>
            </a:rPr>
            <a:t>diciembre</a:t>
          </a:r>
          <a:r>
            <a:rPr lang="es-ES" sz="2400" kern="1200">
              <a:solidFill>
                <a:schemeClr val="tx1"/>
              </a:solidFill>
              <a:latin typeface="+mj-lt"/>
            </a:rPr>
            <a:t> del 2023</a:t>
          </a:r>
          <a:endParaRPr lang="en-US" sz="2400" kern="1200">
            <a:solidFill>
              <a:schemeClr val="tx1"/>
            </a:solidFill>
            <a:latin typeface="+mj-lt"/>
          </a:endParaRPr>
        </a:p>
      </dsp:txBody>
      <dsp:txXfrm>
        <a:off x="0" y="3824747"/>
        <a:ext cx="10655461" cy="107474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E1E90A-4290-4073-A2AB-527A20860E8F}">
      <dsp:nvSpPr>
        <dsp:cNvPr id="0" name=""/>
        <dsp:cNvSpPr/>
      </dsp:nvSpPr>
      <dsp:spPr>
        <a:xfrm>
          <a:off x="-5017635" y="-774543"/>
          <a:ext cx="6020852" cy="6020852"/>
        </a:xfrm>
        <a:prstGeom prst="blockArc">
          <a:avLst>
            <a:gd name="adj1" fmla="val 18900000"/>
            <a:gd name="adj2" fmla="val 2700000"/>
            <a:gd name="adj3" fmla="val 359"/>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A7EEE88-C7C7-4C73-ADFA-5299724E363A}">
      <dsp:nvSpPr>
        <dsp:cNvPr id="0" name=""/>
        <dsp:cNvSpPr/>
      </dsp:nvSpPr>
      <dsp:spPr>
        <a:xfrm>
          <a:off x="822022" y="638836"/>
          <a:ext cx="7015279" cy="1277493"/>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4011"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latin typeface="+mj-lt"/>
            </a:rPr>
            <a:t>Sitio de información para </a:t>
          </a:r>
          <a:r>
            <a:rPr lang="en-US" sz="3100" kern="1200" err="1">
              <a:latin typeface="+mj-lt"/>
            </a:rPr>
            <a:t>estudiantes</a:t>
          </a:r>
          <a:r>
            <a:rPr lang="en-US" sz="3100" kern="1200">
              <a:latin typeface="+mj-lt"/>
            </a:rPr>
            <a:t> de 3ro y 4to año.</a:t>
          </a:r>
        </a:p>
      </dsp:txBody>
      <dsp:txXfrm>
        <a:off x="822022" y="638836"/>
        <a:ext cx="7015279" cy="1277493"/>
      </dsp:txXfrm>
    </dsp:sp>
    <dsp:sp modelId="{D688FABD-1F6D-4EB8-AAA6-ACFD9889F7FB}">
      <dsp:nvSpPr>
        <dsp:cNvPr id="0" name=""/>
        <dsp:cNvSpPr/>
      </dsp:nvSpPr>
      <dsp:spPr>
        <a:xfrm>
          <a:off x="23588" y="479149"/>
          <a:ext cx="1596867" cy="1596867"/>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AC5B223-0064-4E6D-90D1-7DDCF092CA8E}">
      <dsp:nvSpPr>
        <dsp:cNvPr id="0" name=""/>
        <dsp:cNvSpPr/>
      </dsp:nvSpPr>
      <dsp:spPr>
        <a:xfrm>
          <a:off x="822022" y="2555434"/>
          <a:ext cx="7015279" cy="1277493"/>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4011" tIns="78740" rIns="78740" bIns="78740" numCol="1" spcCol="1270" anchor="ctr" anchorCtr="0">
          <a:noAutofit/>
        </a:bodyPr>
        <a:lstStyle/>
        <a:p>
          <a:pPr marL="0" lvl="0" indent="0" algn="l" defTabSz="1377950">
            <a:lnSpc>
              <a:spcPct val="90000"/>
            </a:lnSpc>
            <a:spcBef>
              <a:spcPct val="0"/>
            </a:spcBef>
            <a:spcAft>
              <a:spcPct val="35000"/>
            </a:spcAft>
            <a:buNone/>
          </a:pPr>
          <a:r>
            <a:rPr lang="es-ES" sz="3100" kern="1200">
              <a:latin typeface="+mj-lt"/>
            </a:rPr>
            <a:t>Recursos de exploración de carreras, a información para aplicaciónes.</a:t>
          </a:r>
          <a:endParaRPr lang="en-US" sz="3100" kern="1200">
            <a:latin typeface="+mj-lt"/>
          </a:endParaRPr>
        </a:p>
      </dsp:txBody>
      <dsp:txXfrm>
        <a:off x="822022" y="2555434"/>
        <a:ext cx="7015279" cy="1277493"/>
      </dsp:txXfrm>
    </dsp:sp>
    <dsp:sp modelId="{D09EEE02-13A2-46DF-9E5B-25808A119B91}">
      <dsp:nvSpPr>
        <dsp:cNvPr id="0" name=""/>
        <dsp:cNvSpPr/>
      </dsp:nvSpPr>
      <dsp:spPr>
        <a:xfrm>
          <a:off x="23588" y="2395748"/>
          <a:ext cx="1596867" cy="1596867"/>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53936F-1AB2-418B-84EE-292A06FA3DCE}">
      <dsp:nvSpPr>
        <dsp:cNvPr id="0" name=""/>
        <dsp:cNvSpPr/>
      </dsp:nvSpPr>
      <dsp:spPr>
        <a:xfrm>
          <a:off x="875" y="1184853"/>
          <a:ext cx="3413843" cy="2048305"/>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kern="1200">
              <a:latin typeface="+mj-lt"/>
            </a:rPr>
            <a:t>¡Eventos virtuales gratuitos de finalización de ayuda financiera para dar apoyo al siguiente paso!</a:t>
          </a:r>
          <a:endParaRPr lang="en-US" sz="2600" kern="1200">
            <a:latin typeface="+mj-lt"/>
          </a:endParaRPr>
        </a:p>
      </dsp:txBody>
      <dsp:txXfrm>
        <a:off x="875" y="1184853"/>
        <a:ext cx="3413843" cy="2048305"/>
      </dsp:txXfrm>
    </dsp:sp>
    <dsp:sp modelId="{0C7BA3BD-FA8F-43B3-9195-2F144F4BC341}">
      <dsp:nvSpPr>
        <dsp:cNvPr id="0" name=""/>
        <dsp:cNvSpPr/>
      </dsp:nvSpPr>
      <dsp:spPr>
        <a:xfrm>
          <a:off x="3756102" y="1184853"/>
          <a:ext cx="3413843" cy="2048305"/>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s-ES" sz="2600" kern="1200">
              <a:latin typeface="+mj-lt"/>
            </a:rPr>
            <a:t>Recursos gratuitos que apoyan con ayuda financiera, admisiones universitarias y más</a:t>
          </a:r>
          <a:endParaRPr lang="en-US" sz="2600" kern="1200">
            <a:latin typeface="+mj-lt"/>
          </a:endParaRPr>
        </a:p>
      </dsp:txBody>
      <dsp:txXfrm>
        <a:off x="3756102" y="1184853"/>
        <a:ext cx="3413843" cy="2048305"/>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2C6CA-8ADF-41BE-ACC5-C4170E9C5134}">
      <dsp:nvSpPr>
        <dsp:cNvPr id="0" name=""/>
        <dsp:cNvSpPr/>
      </dsp:nvSpPr>
      <dsp:spPr>
        <a:xfrm>
          <a:off x="0" y="31247"/>
          <a:ext cx="6505575" cy="1884462"/>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114300" rIns="114300" bIns="114300" numCol="1" spcCol="1270" anchor="t" anchorCtr="0">
          <a:noAutofit/>
        </a:bodyPr>
        <a:lstStyle/>
        <a:p>
          <a:pPr marL="0" lvl="0" indent="0" algn="l" defTabSz="1333500">
            <a:lnSpc>
              <a:spcPct val="90000"/>
            </a:lnSpc>
            <a:spcBef>
              <a:spcPct val="0"/>
            </a:spcBef>
            <a:spcAft>
              <a:spcPct val="35000"/>
            </a:spcAft>
            <a:buNone/>
          </a:pPr>
          <a:r>
            <a:rPr lang="en-US" sz="3000" kern="1200">
              <a:latin typeface="+mj-lt"/>
            </a:rPr>
            <a:t>En Linea:</a:t>
          </a:r>
        </a:p>
        <a:p>
          <a:pPr marL="223838" lvl="1" indent="0" algn="l" defTabSz="1111250">
            <a:lnSpc>
              <a:spcPct val="90000"/>
            </a:lnSpc>
            <a:spcBef>
              <a:spcPct val="0"/>
            </a:spcBef>
            <a:spcAft>
              <a:spcPct val="15000"/>
            </a:spcAft>
            <a:buChar char="•"/>
          </a:pPr>
          <a:r>
            <a:rPr lang="en-US" sz="2500" kern="1200">
              <a:solidFill>
                <a:schemeClr val="bg1"/>
              </a:solidFill>
              <a:latin typeface="+mj-lt"/>
            </a:rPr>
            <a:t>wsac.wa.gov</a:t>
          </a:r>
        </a:p>
        <a:p>
          <a:pPr marL="223838" lvl="1" indent="0" algn="l" defTabSz="1111250">
            <a:lnSpc>
              <a:spcPct val="90000"/>
            </a:lnSpc>
            <a:spcBef>
              <a:spcPct val="0"/>
            </a:spcBef>
            <a:spcAft>
              <a:spcPct val="15000"/>
            </a:spcAft>
            <a:buChar char="•"/>
          </a:pPr>
          <a:r>
            <a:rPr lang="en-US" sz="2500" kern="1200">
              <a:latin typeface="+mj-lt"/>
            </a:rPr>
            <a:t>www.thewashboard.org</a:t>
          </a:r>
        </a:p>
        <a:p>
          <a:pPr marL="223838" lvl="1" indent="0" algn="l" defTabSz="1111250">
            <a:lnSpc>
              <a:spcPct val="90000"/>
            </a:lnSpc>
            <a:spcBef>
              <a:spcPct val="0"/>
            </a:spcBef>
            <a:spcAft>
              <a:spcPct val="15000"/>
            </a:spcAft>
            <a:buChar char="•"/>
          </a:pPr>
          <a:r>
            <a:rPr lang="en-US" sz="2500" kern="1200">
              <a:solidFill>
                <a:schemeClr val="bg1"/>
              </a:solidFill>
              <a:latin typeface="+mj-lt"/>
            </a:rPr>
            <a:t>wastate529.wa.gov</a:t>
          </a:r>
        </a:p>
      </dsp:txBody>
      <dsp:txXfrm>
        <a:off x="1431367" y="31247"/>
        <a:ext cx="5074207" cy="1884462"/>
      </dsp:txXfrm>
    </dsp:sp>
    <dsp:sp modelId="{36FF14BC-FBA2-4EDA-A695-6270CF518E19}">
      <dsp:nvSpPr>
        <dsp:cNvPr id="0" name=""/>
        <dsp:cNvSpPr/>
      </dsp:nvSpPr>
      <dsp:spPr>
        <a:xfrm>
          <a:off x="130252" y="421222"/>
          <a:ext cx="1301115" cy="1042017"/>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F34229C-F1EA-4DCA-8864-4C2575FF4974}">
      <dsp:nvSpPr>
        <dsp:cNvPr id="0" name=""/>
        <dsp:cNvSpPr/>
      </dsp:nvSpPr>
      <dsp:spPr>
        <a:xfrm>
          <a:off x="0" y="2022307"/>
          <a:ext cx="6505575" cy="1302521"/>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a:latin typeface="+mj-lt"/>
            </a:rPr>
            <a:t>En Twitter:</a:t>
          </a:r>
        </a:p>
        <a:p>
          <a:pPr marL="223838" lvl="1" indent="0" algn="l" defTabSz="1111250">
            <a:lnSpc>
              <a:spcPct val="90000"/>
            </a:lnSpc>
            <a:spcBef>
              <a:spcPct val="0"/>
            </a:spcBef>
            <a:spcAft>
              <a:spcPct val="15000"/>
            </a:spcAft>
            <a:buChar char="•"/>
          </a:pPr>
          <a:r>
            <a:rPr lang="en-US" sz="2500" kern="1200">
              <a:latin typeface="+mj-lt"/>
            </a:rPr>
            <a:t>@</a:t>
          </a:r>
          <a:r>
            <a:rPr lang="en-US" sz="2500" kern="1200" err="1">
              <a:latin typeface="+mj-lt"/>
            </a:rPr>
            <a:t>WSACouncil</a:t>
          </a:r>
          <a:r>
            <a:rPr lang="en-US" sz="2500" kern="1200">
              <a:latin typeface="+mj-lt"/>
            </a:rPr>
            <a:t> </a:t>
          </a:r>
        </a:p>
      </dsp:txBody>
      <dsp:txXfrm>
        <a:off x="1431367" y="2022307"/>
        <a:ext cx="5074207" cy="1302521"/>
      </dsp:txXfrm>
    </dsp:sp>
    <dsp:sp modelId="{8C589259-8345-4660-9E55-F438BB95AB07}">
      <dsp:nvSpPr>
        <dsp:cNvPr id="0" name=""/>
        <dsp:cNvSpPr/>
      </dsp:nvSpPr>
      <dsp:spPr>
        <a:xfrm>
          <a:off x="130252" y="2144966"/>
          <a:ext cx="1301115" cy="1042017"/>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7000" b="-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B960BAA-C130-4144-9CAD-D50151064897}">
      <dsp:nvSpPr>
        <dsp:cNvPr id="0" name=""/>
        <dsp:cNvSpPr/>
      </dsp:nvSpPr>
      <dsp:spPr>
        <a:xfrm>
          <a:off x="0" y="3447487"/>
          <a:ext cx="6505575" cy="1302521"/>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a:latin typeface="+mj-lt"/>
            </a:rPr>
            <a:t>En Facebook:</a:t>
          </a:r>
        </a:p>
        <a:p>
          <a:pPr marL="223838" lvl="1" indent="0" algn="l" defTabSz="1111250">
            <a:lnSpc>
              <a:spcPct val="90000"/>
            </a:lnSpc>
            <a:spcBef>
              <a:spcPct val="0"/>
            </a:spcBef>
            <a:spcAft>
              <a:spcPct val="15000"/>
            </a:spcAft>
            <a:buChar char="•"/>
          </a:pPr>
          <a:r>
            <a:rPr lang="en-US" sz="2500" kern="1200">
              <a:latin typeface="+mj-lt"/>
            </a:rPr>
            <a:t>www.facebook.com/WSACouncil</a:t>
          </a:r>
        </a:p>
      </dsp:txBody>
      <dsp:txXfrm>
        <a:off x="1431367" y="3447487"/>
        <a:ext cx="5074207" cy="1302521"/>
      </dsp:txXfrm>
    </dsp:sp>
    <dsp:sp modelId="{DF22EC87-A7B2-48AC-814C-4B991D8B2FB4}">
      <dsp:nvSpPr>
        <dsp:cNvPr id="0" name=""/>
        <dsp:cNvSpPr/>
      </dsp:nvSpPr>
      <dsp:spPr>
        <a:xfrm>
          <a:off x="104294" y="3566809"/>
          <a:ext cx="1301115" cy="1042017"/>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2000" r="-1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61A595-D515-4831-AA89-118AA3A79382}">
      <dsp:nvSpPr>
        <dsp:cNvPr id="0" name=""/>
        <dsp:cNvSpPr/>
      </dsp:nvSpPr>
      <dsp:spPr>
        <a:xfrm>
          <a:off x="4800600" y="2393100"/>
          <a:ext cx="2035951" cy="577569"/>
        </a:xfrm>
        <a:custGeom>
          <a:avLst/>
          <a:gdLst/>
          <a:ahLst/>
          <a:cxnLst/>
          <a:rect l="0" t="0" r="0" b="0"/>
          <a:pathLst>
            <a:path>
              <a:moveTo>
                <a:pt x="0" y="0"/>
              </a:moveTo>
              <a:lnTo>
                <a:pt x="0" y="289295"/>
              </a:lnTo>
              <a:lnTo>
                <a:pt x="2035951" y="289295"/>
              </a:lnTo>
              <a:lnTo>
                <a:pt x="2035951" y="577569"/>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5915C7-656A-4643-A93B-A31018C29B22}">
      <dsp:nvSpPr>
        <dsp:cNvPr id="0" name=""/>
        <dsp:cNvSpPr/>
      </dsp:nvSpPr>
      <dsp:spPr>
        <a:xfrm>
          <a:off x="2738278" y="2393100"/>
          <a:ext cx="2062321" cy="576546"/>
        </a:xfrm>
        <a:custGeom>
          <a:avLst/>
          <a:gdLst/>
          <a:ahLst/>
          <a:cxnLst/>
          <a:rect l="0" t="0" r="0" b="0"/>
          <a:pathLst>
            <a:path>
              <a:moveTo>
                <a:pt x="2062321" y="0"/>
              </a:moveTo>
              <a:lnTo>
                <a:pt x="2062321" y="288273"/>
              </a:lnTo>
              <a:lnTo>
                <a:pt x="0" y="288273"/>
              </a:lnTo>
              <a:lnTo>
                <a:pt x="0" y="576546"/>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DBDCC43-6A5A-4C4A-8A82-FD940DE9550E}">
      <dsp:nvSpPr>
        <dsp:cNvPr id="0" name=""/>
        <dsp:cNvSpPr/>
      </dsp:nvSpPr>
      <dsp:spPr>
        <a:xfrm>
          <a:off x="66671" y="1022"/>
          <a:ext cx="9467857" cy="239207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1422400">
            <a:lnSpc>
              <a:spcPct val="90000"/>
            </a:lnSpc>
            <a:spcBef>
              <a:spcPct val="0"/>
            </a:spcBef>
            <a:spcAft>
              <a:spcPct val="35000"/>
            </a:spcAft>
            <a:buNone/>
          </a:pPr>
          <a:r>
            <a:rPr lang="en-US" sz="3200" kern="1200">
              <a:latin typeface="+mj-lt"/>
            </a:rPr>
            <a:t>Un </a:t>
          </a:r>
          <a:r>
            <a:rPr lang="en-US" sz="3200" kern="1200" err="1">
              <a:latin typeface="+mj-lt"/>
            </a:rPr>
            <a:t>subvención</a:t>
          </a:r>
          <a:r>
            <a:rPr lang="en-US" sz="3200" kern="1200">
              <a:latin typeface="+mj-lt"/>
            </a:rPr>
            <a:t> o grant es </a:t>
          </a:r>
          <a:r>
            <a:rPr lang="en-US" sz="3200" kern="1200" err="1">
              <a:latin typeface="+mj-lt"/>
            </a:rPr>
            <a:t>ayuda</a:t>
          </a:r>
          <a:r>
            <a:rPr lang="en-US" sz="3200" kern="1200">
              <a:latin typeface="+mj-lt"/>
            </a:rPr>
            <a:t> en forma de regalo que a menudo se </a:t>
          </a:r>
          <a:r>
            <a:rPr lang="en-US" sz="3200" kern="1200" err="1">
              <a:latin typeface="+mj-lt"/>
            </a:rPr>
            <a:t>basa</a:t>
          </a:r>
          <a:r>
            <a:rPr lang="en-US" sz="3200" kern="1200">
              <a:latin typeface="+mj-lt"/>
            </a:rPr>
            <a:t> en </a:t>
          </a:r>
          <a:r>
            <a:rPr lang="en-US" sz="3200" kern="1200" err="1">
              <a:latin typeface="+mj-lt"/>
            </a:rPr>
            <a:t>necesidad</a:t>
          </a:r>
          <a:r>
            <a:rPr lang="en-US" sz="3200" kern="1200">
              <a:latin typeface="+mj-lt"/>
            </a:rPr>
            <a:t> </a:t>
          </a:r>
          <a:r>
            <a:rPr lang="en-US" sz="3200" kern="1200" err="1">
              <a:latin typeface="+mj-lt"/>
            </a:rPr>
            <a:t>financiera</a:t>
          </a:r>
          <a:r>
            <a:rPr lang="en-US" sz="3200" kern="1200">
              <a:latin typeface="+mj-lt"/>
            </a:rPr>
            <a:t> y no es </a:t>
          </a:r>
          <a:r>
            <a:rPr lang="en-US" sz="3200" kern="1200" err="1">
              <a:latin typeface="+mj-lt"/>
            </a:rPr>
            <a:t>reembolsada</a:t>
          </a:r>
          <a:r>
            <a:rPr lang="en-US" sz="3200" kern="1200">
              <a:latin typeface="+mj-lt"/>
            </a:rPr>
            <a:t>, a </a:t>
          </a:r>
          <a:r>
            <a:rPr lang="en-US" sz="3200" kern="1200" err="1">
              <a:latin typeface="+mj-lt"/>
            </a:rPr>
            <a:t>menos</a:t>
          </a:r>
          <a:r>
            <a:rPr lang="en-US" sz="3200" kern="1200">
              <a:latin typeface="+mj-lt"/>
            </a:rPr>
            <a:t> que, </a:t>
          </a:r>
          <a:r>
            <a:rPr lang="en-US" sz="3200" kern="1200" err="1">
              <a:latin typeface="+mj-lt"/>
            </a:rPr>
            <a:t>por</a:t>
          </a:r>
          <a:r>
            <a:rPr lang="en-US" sz="3200" kern="1200">
              <a:latin typeface="+mj-lt"/>
            </a:rPr>
            <a:t> </a:t>
          </a:r>
          <a:r>
            <a:rPr lang="en-US" sz="3200" kern="1200" err="1">
              <a:latin typeface="+mj-lt"/>
            </a:rPr>
            <a:t>ejemplo</a:t>
          </a:r>
          <a:r>
            <a:rPr lang="en-US" sz="3200" kern="1200">
              <a:latin typeface="+mj-lt"/>
            </a:rPr>
            <a:t>, el </a:t>
          </a:r>
          <a:r>
            <a:rPr lang="en-US" sz="3200" kern="1200" err="1">
              <a:latin typeface="+mj-lt"/>
            </a:rPr>
            <a:t>estudiante</a:t>
          </a:r>
          <a:r>
            <a:rPr lang="en-US" sz="3200" kern="1200">
              <a:latin typeface="+mj-lt"/>
            </a:rPr>
            <a:t> se retire de la </a:t>
          </a:r>
          <a:r>
            <a:rPr lang="en-US" sz="3200" kern="1200" err="1">
              <a:latin typeface="+mj-lt"/>
            </a:rPr>
            <a:t>escuela</a:t>
          </a:r>
          <a:r>
            <a:rPr lang="en-US" sz="3200" kern="1200">
              <a:latin typeface="+mj-lt"/>
            </a:rPr>
            <a:t> y </a:t>
          </a:r>
          <a:r>
            <a:rPr lang="en-US" sz="3200" kern="1200" err="1">
              <a:latin typeface="+mj-lt"/>
            </a:rPr>
            <a:t>deba</a:t>
          </a:r>
          <a:r>
            <a:rPr lang="en-US" sz="3200" kern="1200">
              <a:latin typeface="+mj-lt"/>
            </a:rPr>
            <a:t> un </a:t>
          </a:r>
          <a:r>
            <a:rPr lang="en-US" sz="3200" kern="1200" err="1">
              <a:latin typeface="+mj-lt"/>
            </a:rPr>
            <a:t>reembolso</a:t>
          </a:r>
          <a:r>
            <a:rPr lang="en-US" sz="3200" kern="1200">
              <a:latin typeface="+mj-lt"/>
            </a:rPr>
            <a:t>.</a:t>
          </a:r>
        </a:p>
      </dsp:txBody>
      <dsp:txXfrm>
        <a:off x="66671" y="1022"/>
        <a:ext cx="9467857" cy="2392078"/>
      </dsp:txXfrm>
    </dsp:sp>
    <dsp:sp modelId="{155F3A6D-C4A2-4091-A8CD-6DAC21F3A908}">
      <dsp:nvSpPr>
        <dsp:cNvPr id="0" name=""/>
        <dsp:cNvSpPr/>
      </dsp:nvSpPr>
      <dsp:spPr>
        <a:xfrm>
          <a:off x="970284" y="2969647"/>
          <a:ext cx="3535988" cy="137273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a:latin typeface="+mj-lt"/>
            </a:rPr>
            <a:t>Washington College Grant</a:t>
          </a:r>
        </a:p>
      </dsp:txBody>
      <dsp:txXfrm>
        <a:off x="970284" y="2969647"/>
        <a:ext cx="3535988" cy="1372730"/>
      </dsp:txXfrm>
    </dsp:sp>
    <dsp:sp modelId="{4EB5A2FE-8C67-416B-A3CA-17867B1EE11B}">
      <dsp:nvSpPr>
        <dsp:cNvPr id="0" name=""/>
        <dsp:cNvSpPr/>
      </dsp:nvSpPr>
      <dsp:spPr>
        <a:xfrm>
          <a:off x="5062503" y="2970669"/>
          <a:ext cx="3548095" cy="137273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a:latin typeface="+mj-lt"/>
            </a:rPr>
            <a:t>Pell Grant</a:t>
          </a:r>
        </a:p>
      </dsp:txBody>
      <dsp:txXfrm>
        <a:off x="5062503" y="2970669"/>
        <a:ext cx="3548095" cy="13727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AD95CC-3379-4A73-B0BF-72FA9135A68F}">
      <dsp:nvSpPr>
        <dsp:cNvPr id="0" name=""/>
        <dsp:cNvSpPr/>
      </dsp:nvSpPr>
      <dsp:spPr>
        <a:xfrm>
          <a:off x="1164574" y="1591343"/>
          <a:ext cx="1756668" cy="1519589"/>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0" kern="1200">
              <a:latin typeface="+mj-lt"/>
            </a:rPr>
            <a:t>Work-Study</a:t>
          </a:r>
        </a:p>
      </dsp:txBody>
      <dsp:txXfrm>
        <a:off x="1455679" y="1843160"/>
        <a:ext cx="1174458" cy="1015955"/>
      </dsp:txXfrm>
    </dsp:sp>
    <dsp:sp modelId="{DDA1AB3F-573E-41A2-8EF8-8BE47107F68C}">
      <dsp:nvSpPr>
        <dsp:cNvPr id="0" name=""/>
        <dsp:cNvSpPr/>
      </dsp:nvSpPr>
      <dsp:spPr>
        <a:xfrm>
          <a:off x="561975" y="3893501"/>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89192F7-F7B1-40C9-846A-3396CBDE3119}">
      <dsp:nvSpPr>
        <dsp:cNvPr id="0" name=""/>
        <dsp:cNvSpPr/>
      </dsp:nvSpPr>
      <dsp:spPr>
        <a:xfrm>
          <a:off x="1326388" y="209275"/>
          <a:ext cx="1439577" cy="1245403"/>
        </a:xfrm>
        <a:prstGeom prst="hexagon">
          <a:avLst>
            <a:gd name="adj" fmla="val 2857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0" i="0" kern="1200">
              <a:latin typeface="+mj-lt"/>
            </a:rPr>
            <a:t>Tutoring</a:t>
          </a:r>
          <a:endParaRPr lang="en-US" sz="1700" b="0" kern="1200">
            <a:latin typeface="+mj-lt"/>
          </a:endParaRPr>
        </a:p>
      </dsp:txBody>
      <dsp:txXfrm>
        <a:off x="1564957" y="415665"/>
        <a:ext cx="962439" cy="832623"/>
      </dsp:txXfrm>
    </dsp:sp>
    <dsp:sp modelId="{D34B6688-F82E-4C7C-BCFC-2034F2DC21B1}">
      <dsp:nvSpPr>
        <dsp:cNvPr id="0" name=""/>
        <dsp:cNvSpPr/>
      </dsp:nvSpPr>
      <dsp:spPr>
        <a:xfrm>
          <a:off x="2828927" y="245426"/>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A57795-2D8B-43B8-A094-8626EE386001}">
      <dsp:nvSpPr>
        <dsp:cNvPr id="0" name=""/>
        <dsp:cNvSpPr/>
      </dsp:nvSpPr>
      <dsp:spPr>
        <a:xfrm>
          <a:off x="2646648" y="975281"/>
          <a:ext cx="1439577" cy="1245403"/>
        </a:xfrm>
        <a:prstGeom prst="hexagon">
          <a:avLst>
            <a:gd name="adj" fmla="val 28570"/>
            <a:gd name="vf" fmla="val 11547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0" i="0" kern="1200">
              <a:latin typeface="+mj-lt"/>
            </a:rPr>
            <a:t>Fitness Center</a:t>
          </a:r>
          <a:endParaRPr lang="en-US" sz="1700" b="0" kern="1200">
            <a:latin typeface="+mj-lt"/>
          </a:endParaRPr>
        </a:p>
      </dsp:txBody>
      <dsp:txXfrm>
        <a:off x="2885217" y="1181671"/>
        <a:ext cx="962439" cy="832623"/>
      </dsp:txXfrm>
    </dsp:sp>
    <dsp:sp modelId="{CA4FA584-D59F-4E42-9AC9-20EA9037F5E4}">
      <dsp:nvSpPr>
        <dsp:cNvPr id="0" name=""/>
        <dsp:cNvSpPr/>
      </dsp:nvSpPr>
      <dsp:spPr>
        <a:xfrm>
          <a:off x="605295" y="283527"/>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A92EF8-0821-4686-BF33-32E42AF054E8}">
      <dsp:nvSpPr>
        <dsp:cNvPr id="0" name=""/>
        <dsp:cNvSpPr/>
      </dsp:nvSpPr>
      <dsp:spPr>
        <a:xfrm>
          <a:off x="2646648" y="2481161"/>
          <a:ext cx="1439577" cy="1245403"/>
        </a:xfrm>
        <a:prstGeom prst="hexagon">
          <a:avLst>
            <a:gd name="adj" fmla="val 28570"/>
            <a:gd name="vf" fmla="val 11547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0" kern="1200">
              <a:latin typeface="+mj-lt"/>
            </a:rPr>
            <a:t>Library</a:t>
          </a:r>
        </a:p>
      </dsp:txBody>
      <dsp:txXfrm>
        <a:off x="2885217" y="2687551"/>
        <a:ext cx="962439" cy="832623"/>
      </dsp:txXfrm>
    </dsp:sp>
    <dsp:sp modelId="{3C490377-36B7-49B8-804F-F33DDEB03D3D}">
      <dsp:nvSpPr>
        <dsp:cNvPr id="0" name=""/>
        <dsp:cNvSpPr/>
      </dsp:nvSpPr>
      <dsp:spPr>
        <a:xfrm>
          <a:off x="596343" y="3874455"/>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2306791-AD59-4F1E-86E4-264DF306853A}">
      <dsp:nvSpPr>
        <dsp:cNvPr id="0" name=""/>
        <dsp:cNvSpPr/>
      </dsp:nvSpPr>
      <dsp:spPr>
        <a:xfrm>
          <a:off x="1326388" y="3248025"/>
          <a:ext cx="1439577" cy="1245403"/>
        </a:xfrm>
        <a:prstGeom prst="hexagon">
          <a:avLst>
            <a:gd name="adj" fmla="val 28570"/>
            <a:gd name="vf" fmla="val 11547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0" i="0" kern="1200">
              <a:latin typeface="+mj-lt"/>
            </a:rPr>
            <a:t>Computer Lab</a:t>
          </a:r>
          <a:endParaRPr lang="en-US" sz="1700" b="0" kern="1200">
            <a:latin typeface="+mj-lt"/>
          </a:endParaRPr>
        </a:p>
      </dsp:txBody>
      <dsp:txXfrm>
        <a:off x="1564957" y="3454415"/>
        <a:ext cx="962439" cy="832623"/>
      </dsp:txXfrm>
    </dsp:sp>
    <dsp:sp modelId="{851CCD39-6205-428F-8D61-A00C0FB47947}">
      <dsp:nvSpPr>
        <dsp:cNvPr id="0" name=""/>
        <dsp:cNvSpPr/>
      </dsp:nvSpPr>
      <dsp:spPr>
        <a:xfrm>
          <a:off x="2781952" y="3883976"/>
          <a:ext cx="662785" cy="571077"/>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7535155-AEA2-446C-9AB5-ECE52B558BED}">
      <dsp:nvSpPr>
        <dsp:cNvPr id="0" name=""/>
        <dsp:cNvSpPr/>
      </dsp:nvSpPr>
      <dsp:spPr>
        <a:xfrm>
          <a:off x="0" y="2482018"/>
          <a:ext cx="1439577" cy="1245403"/>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0" kern="1200">
              <a:latin typeface="+mj-lt"/>
            </a:rPr>
            <a:t>Student Life</a:t>
          </a:r>
        </a:p>
      </dsp:txBody>
      <dsp:txXfrm>
        <a:off x="238569" y="2688408"/>
        <a:ext cx="962439" cy="832623"/>
      </dsp:txXfrm>
    </dsp:sp>
    <dsp:sp modelId="{D39CC2E8-C032-44BA-90D8-989F6976E989}">
      <dsp:nvSpPr>
        <dsp:cNvPr id="0" name=""/>
        <dsp:cNvSpPr/>
      </dsp:nvSpPr>
      <dsp:spPr>
        <a:xfrm>
          <a:off x="0" y="973568"/>
          <a:ext cx="1439577" cy="1245403"/>
        </a:xfrm>
        <a:prstGeom prst="hexagon">
          <a:avLst>
            <a:gd name="adj" fmla="val 2857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en-US" sz="1700" b="0" kern="1200">
              <a:latin typeface="+mj-lt"/>
            </a:rPr>
            <a:t>Outreach</a:t>
          </a:r>
        </a:p>
      </dsp:txBody>
      <dsp:txXfrm>
        <a:off x="238569" y="1179958"/>
        <a:ext cx="962439" cy="83262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550EFE-7958-4EA8-A79B-4AA57AFEEB79}">
      <dsp:nvSpPr>
        <dsp:cNvPr id="0" name=""/>
        <dsp:cNvSpPr/>
      </dsp:nvSpPr>
      <dsp:spPr>
        <a:xfrm>
          <a:off x="0" y="24322"/>
          <a:ext cx="4572000" cy="105183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b="1" kern="1200">
              <a:latin typeface="+mj-lt"/>
            </a:rPr>
            <a:t>Préstamos Estudiantiles Sin Subsidio</a:t>
          </a:r>
          <a:endParaRPr lang="en-US" sz="2900" b="1" kern="1200">
            <a:latin typeface="+mj-lt"/>
          </a:endParaRPr>
        </a:p>
      </dsp:txBody>
      <dsp:txXfrm>
        <a:off x="51346" y="75668"/>
        <a:ext cx="4469308" cy="949138"/>
      </dsp:txXfrm>
    </dsp:sp>
    <dsp:sp modelId="{0D83D8F9-0416-4C06-823C-3FBB7DE5C568}">
      <dsp:nvSpPr>
        <dsp:cNvPr id="0" name=""/>
        <dsp:cNvSpPr/>
      </dsp:nvSpPr>
      <dsp:spPr>
        <a:xfrm>
          <a:off x="0" y="1076152"/>
          <a:ext cx="4572000" cy="15307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161"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s-ES" sz="2300" kern="1200">
              <a:latin typeface="+mj-lt"/>
            </a:rPr>
            <a:t>Los intereses comienzan a acumularse tan pronto como se desembolsa el préstamo, incluso mientras está inscrito en la escuela.</a:t>
          </a:r>
          <a:endParaRPr lang="en-US" sz="2300" b="1" kern="1200">
            <a:latin typeface="+mj-lt"/>
          </a:endParaRPr>
        </a:p>
      </dsp:txBody>
      <dsp:txXfrm>
        <a:off x="0" y="1076152"/>
        <a:ext cx="4572000" cy="1530765"/>
      </dsp:txXfrm>
    </dsp:sp>
    <dsp:sp modelId="{147835DF-2C56-4C19-83D1-25ECCCF0A262}">
      <dsp:nvSpPr>
        <dsp:cNvPr id="0" name=""/>
        <dsp:cNvSpPr/>
      </dsp:nvSpPr>
      <dsp:spPr>
        <a:xfrm>
          <a:off x="0" y="2606917"/>
          <a:ext cx="4572000" cy="105183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a:lnSpc>
              <a:spcPct val="90000"/>
            </a:lnSpc>
            <a:spcBef>
              <a:spcPct val="0"/>
            </a:spcBef>
            <a:spcAft>
              <a:spcPct val="35000"/>
            </a:spcAft>
            <a:buNone/>
          </a:pPr>
          <a:r>
            <a:rPr lang="es-ES" sz="2900" b="1" kern="1200">
              <a:latin typeface="+mj-lt"/>
            </a:rPr>
            <a:t>Préstamos Estudiantiles Subsidiados</a:t>
          </a:r>
          <a:endParaRPr lang="en-US" sz="2900" b="1" kern="1200">
            <a:latin typeface="+mj-lt"/>
          </a:endParaRPr>
        </a:p>
      </dsp:txBody>
      <dsp:txXfrm>
        <a:off x="51346" y="2658263"/>
        <a:ext cx="4469308" cy="949138"/>
      </dsp:txXfrm>
    </dsp:sp>
    <dsp:sp modelId="{0FB7A219-0617-4F7B-8DF6-017F91686146}">
      <dsp:nvSpPr>
        <dsp:cNvPr id="0" name=""/>
        <dsp:cNvSpPr/>
      </dsp:nvSpPr>
      <dsp:spPr>
        <a:xfrm>
          <a:off x="0" y="3658747"/>
          <a:ext cx="4572000" cy="6603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161" tIns="36830" rIns="206248" bIns="36830" numCol="1" spcCol="1270" anchor="t" anchorCtr="0">
          <a:noAutofit/>
        </a:bodyPr>
        <a:lstStyle/>
        <a:p>
          <a:pPr marL="228600" lvl="1" indent="-228600" algn="l" defTabSz="1022350">
            <a:lnSpc>
              <a:spcPct val="90000"/>
            </a:lnSpc>
            <a:spcBef>
              <a:spcPct val="0"/>
            </a:spcBef>
            <a:spcAft>
              <a:spcPct val="20000"/>
            </a:spcAft>
            <a:buChar char="•"/>
          </a:pPr>
          <a:r>
            <a:rPr lang="es-ES" sz="2300" kern="1200">
              <a:latin typeface="+mj-lt"/>
            </a:rPr>
            <a:t>Los intereses se pagan aunque  esté matriculado medio tiempo.</a:t>
          </a:r>
          <a:endParaRPr lang="en-US" sz="2300" kern="1200">
            <a:latin typeface="+mj-lt"/>
          </a:endParaRPr>
        </a:p>
      </dsp:txBody>
      <dsp:txXfrm>
        <a:off x="0" y="3658747"/>
        <a:ext cx="4572000" cy="66032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710AE1-69D9-42C2-9773-05B1C35383B0}">
      <dsp:nvSpPr>
        <dsp:cNvPr id="0" name=""/>
        <dsp:cNvSpPr/>
      </dsp:nvSpPr>
      <dsp:spPr>
        <a:xfrm>
          <a:off x="2513" y="292015"/>
          <a:ext cx="2232465" cy="8822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en-US" sz="2900" kern="1200">
              <a:latin typeface="+mj-lt"/>
            </a:rPr>
            <a:t>Federal</a:t>
          </a:r>
        </a:p>
      </dsp:txBody>
      <dsp:txXfrm>
        <a:off x="28355" y="317857"/>
        <a:ext cx="2180781" cy="830615"/>
      </dsp:txXfrm>
    </dsp:sp>
    <dsp:sp modelId="{7F2C5509-B3AB-4E34-9F41-E3D68B8AFF02}">
      <dsp:nvSpPr>
        <dsp:cNvPr id="0" name=""/>
        <dsp:cNvSpPr/>
      </dsp:nvSpPr>
      <dsp:spPr>
        <a:xfrm>
          <a:off x="225760" y="1174315"/>
          <a:ext cx="161866" cy="1126613"/>
        </a:xfrm>
        <a:custGeom>
          <a:avLst/>
          <a:gdLst/>
          <a:ahLst/>
          <a:cxnLst/>
          <a:rect l="0" t="0" r="0" b="0"/>
          <a:pathLst>
            <a:path>
              <a:moveTo>
                <a:pt x="0" y="0"/>
              </a:moveTo>
              <a:lnTo>
                <a:pt x="0" y="1126613"/>
              </a:lnTo>
              <a:lnTo>
                <a:pt x="161866" y="112661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3E682CF-BBF2-40DE-ABA7-000F35119828}">
      <dsp:nvSpPr>
        <dsp:cNvPr id="0" name=""/>
        <dsp:cNvSpPr/>
      </dsp:nvSpPr>
      <dsp:spPr>
        <a:xfrm>
          <a:off x="387626" y="1345040"/>
          <a:ext cx="2361556" cy="191177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US" sz="2400" kern="1200" err="1">
              <a:latin typeface="+mj-lt"/>
            </a:rPr>
            <a:t>Tipicamente</a:t>
          </a:r>
          <a:r>
            <a:rPr lang="en-US" sz="2400" kern="1200">
              <a:latin typeface="+mj-lt"/>
            </a:rPr>
            <a:t> </a:t>
          </a:r>
          <a:r>
            <a:rPr lang="en-US" sz="2400" kern="1200" err="1">
              <a:latin typeface="+mj-lt"/>
            </a:rPr>
            <a:t>puede</a:t>
          </a:r>
          <a:r>
            <a:rPr lang="en-US" sz="2400" kern="1200">
              <a:latin typeface="+mj-lt"/>
            </a:rPr>
            <a:t> ser </a:t>
          </a:r>
          <a:r>
            <a:rPr lang="en-US" sz="2400" kern="1200" err="1">
              <a:latin typeface="+mj-lt"/>
            </a:rPr>
            <a:t>usada</a:t>
          </a:r>
          <a:r>
            <a:rPr lang="en-US" sz="2400" kern="1200">
              <a:latin typeface="+mj-lt"/>
            </a:rPr>
            <a:t> en la mayoría de </a:t>
          </a:r>
          <a:r>
            <a:rPr lang="en-US" sz="2400" kern="1200" err="1">
              <a:latin typeface="+mj-lt"/>
            </a:rPr>
            <a:t>escuelas</a:t>
          </a:r>
          <a:r>
            <a:rPr lang="en-US" sz="2400" kern="1200">
              <a:latin typeface="+mj-lt"/>
            </a:rPr>
            <a:t> y en la mayoría de </a:t>
          </a:r>
          <a:r>
            <a:rPr lang="en-US" sz="2400" kern="1200" err="1">
              <a:latin typeface="+mj-lt"/>
            </a:rPr>
            <a:t>los</a:t>
          </a:r>
          <a:r>
            <a:rPr lang="en-US" sz="2400" kern="1200">
              <a:latin typeface="+mj-lt"/>
            </a:rPr>
            <a:t> </a:t>
          </a:r>
          <a:r>
            <a:rPr lang="en-US" sz="2400" kern="1200" err="1">
              <a:latin typeface="+mj-lt"/>
            </a:rPr>
            <a:t>estados</a:t>
          </a:r>
          <a:r>
            <a:rPr lang="en-US" sz="2400" kern="1200">
              <a:latin typeface="+mj-lt"/>
            </a:rPr>
            <a:t>. </a:t>
          </a:r>
        </a:p>
      </dsp:txBody>
      <dsp:txXfrm>
        <a:off x="443620" y="1401034"/>
        <a:ext cx="2249568" cy="1799788"/>
      </dsp:txXfrm>
    </dsp:sp>
    <dsp:sp modelId="{FB26632D-C6D5-4689-BDF7-78872D25E1BB}">
      <dsp:nvSpPr>
        <dsp:cNvPr id="0" name=""/>
        <dsp:cNvSpPr/>
      </dsp:nvSpPr>
      <dsp:spPr>
        <a:xfrm>
          <a:off x="2898793" y="292015"/>
          <a:ext cx="1764599" cy="882299"/>
        </a:xfrm>
        <a:prstGeom prst="roundRect">
          <a:avLst>
            <a:gd name="adj" fmla="val 10000"/>
          </a:avLst>
        </a:prstGeom>
        <a:solidFill>
          <a:schemeClr val="accent4">
            <a:hueOff val="-4247863"/>
            <a:satOff val="22459"/>
            <a:lumOff val="-63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en-US" sz="2900" kern="1200" err="1">
              <a:latin typeface="+mj-lt"/>
            </a:rPr>
            <a:t>Estatal</a:t>
          </a:r>
          <a:endParaRPr lang="en-US" sz="2900" kern="1200">
            <a:latin typeface="+mj-lt"/>
          </a:endParaRPr>
        </a:p>
      </dsp:txBody>
      <dsp:txXfrm>
        <a:off x="2924635" y="317857"/>
        <a:ext cx="1712915" cy="830615"/>
      </dsp:txXfrm>
    </dsp:sp>
    <dsp:sp modelId="{2D097F2B-375E-40A1-8B33-1B82DCAB28B0}">
      <dsp:nvSpPr>
        <dsp:cNvPr id="0" name=""/>
        <dsp:cNvSpPr/>
      </dsp:nvSpPr>
      <dsp:spPr>
        <a:xfrm>
          <a:off x="3075253" y="1174315"/>
          <a:ext cx="176459" cy="1163700"/>
        </a:xfrm>
        <a:custGeom>
          <a:avLst/>
          <a:gdLst/>
          <a:ahLst/>
          <a:cxnLst/>
          <a:rect l="0" t="0" r="0" b="0"/>
          <a:pathLst>
            <a:path>
              <a:moveTo>
                <a:pt x="0" y="0"/>
              </a:moveTo>
              <a:lnTo>
                <a:pt x="0" y="1163700"/>
              </a:lnTo>
              <a:lnTo>
                <a:pt x="176459" y="1163700"/>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717083A-1FA0-4CC1-95B8-D78B54CEB2C9}">
      <dsp:nvSpPr>
        <dsp:cNvPr id="0" name=""/>
        <dsp:cNvSpPr/>
      </dsp:nvSpPr>
      <dsp:spPr>
        <a:xfrm>
          <a:off x="3251713" y="1394890"/>
          <a:ext cx="2146981" cy="1886251"/>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4247863"/>
              <a:satOff val="22459"/>
              <a:lumOff val="-634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US" sz="2400" kern="1200" err="1">
              <a:latin typeface="+mj-lt"/>
            </a:rPr>
            <a:t>Tipicamente</a:t>
          </a:r>
          <a:r>
            <a:rPr lang="en-US" sz="2400" kern="1200">
              <a:latin typeface="+mj-lt"/>
            </a:rPr>
            <a:t> para </a:t>
          </a:r>
          <a:r>
            <a:rPr lang="en-US" sz="2400" kern="1200" err="1">
              <a:latin typeface="+mj-lt"/>
            </a:rPr>
            <a:t>residentes</a:t>
          </a:r>
          <a:r>
            <a:rPr lang="en-US" sz="2400" kern="1200">
              <a:latin typeface="+mj-lt"/>
            </a:rPr>
            <a:t> para que </a:t>
          </a:r>
          <a:r>
            <a:rPr lang="en-US" sz="2400" kern="1200" err="1">
              <a:latin typeface="+mj-lt"/>
            </a:rPr>
            <a:t>puedan</a:t>
          </a:r>
          <a:r>
            <a:rPr lang="en-US" sz="2400" kern="1200">
              <a:latin typeface="+mj-lt"/>
            </a:rPr>
            <a:t> </a:t>
          </a:r>
          <a:r>
            <a:rPr lang="en-US" sz="2400" kern="1200" err="1">
              <a:latin typeface="+mj-lt"/>
            </a:rPr>
            <a:t>asistir</a:t>
          </a:r>
          <a:r>
            <a:rPr lang="en-US" sz="2400" kern="1200">
              <a:latin typeface="+mj-lt"/>
            </a:rPr>
            <a:t> a colegios en el </a:t>
          </a:r>
          <a:r>
            <a:rPr lang="en-US" sz="2400" kern="1200" err="1">
              <a:latin typeface="+mj-lt"/>
            </a:rPr>
            <a:t>estado</a:t>
          </a:r>
          <a:r>
            <a:rPr lang="en-US" sz="2400" kern="1200">
              <a:latin typeface="+mj-lt"/>
            </a:rPr>
            <a:t>. </a:t>
          </a:r>
          <a:endParaRPr lang="en-US" sz="1800" kern="1200">
            <a:latin typeface="+mj-lt"/>
          </a:endParaRPr>
        </a:p>
      </dsp:txBody>
      <dsp:txXfrm>
        <a:off x="3306959" y="1450136"/>
        <a:ext cx="2036489" cy="1775759"/>
      </dsp:txXfrm>
    </dsp:sp>
    <dsp:sp modelId="{23313EEC-3C0E-4986-8BF5-3ED6E774324B}">
      <dsp:nvSpPr>
        <dsp:cNvPr id="0" name=""/>
        <dsp:cNvSpPr/>
      </dsp:nvSpPr>
      <dsp:spPr>
        <a:xfrm>
          <a:off x="5393175" y="278587"/>
          <a:ext cx="2232465" cy="882299"/>
        </a:xfrm>
        <a:prstGeom prst="roundRect">
          <a:avLst>
            <a:gd name="adj" fmla="val 10000"/>
          </a:avLst>
        </a:prstGeom>
        <a:solidFill>
          <a:schemeClr val="accent4">
            <a:hueOff val="-8495727"/>
            <a:satOff val="44918"/>
            <a:lumOff val="-1268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en-US" sz="2900" kern="1200">
              <a:latin typeface="+mj-lt"/>
            </a:rPr>
            <a:t>Colegio/ Universidad</a:t>
          </a:r>
        </a:p>
      </dsp:txBody>
      <dsp:txXfrm>
        <a:off x="5419017" y="304429"/>
        <a:ext cx="2180781" cy="830615"/>
      </dsp:txXfrm>
    </dsp:sp>
    <dsp:sp modelId="{16526CF6-477B-4541-B13B-3DAF1D17912F}">
      <dsp:nvSpPr>
        <dsp:cNvPr id="0" name=""/>
        <dsp:cNvSpPr/>
      </dsp:nvSpPr>
      <dsp:spPr>
        <a:xfrm>
          <a:off x="5616421" y="1160887"/>
          <a:ext cx="223423" cy="1173692"/>
        </a:xfrm>
        <a:custGeom>
          <a:avLst/>
          <a:gdLst/>
          <a:ahLst/>
          <a:cxnLst/>
          <a:rect l="0" t="0" r="0" b="0"/>
          <a:pathLst>
            <a:path>
              <a:moveTo>
                <a:pt x="0" y="0"/>
              </a:moveTo>
              <a:lnTo>
                <a:pt x="0" y="1173692"/>
              </a:lnTo>
              <a:lnTo>
                <a:pt x="223423" y="1173692"/>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619FF26-7A0B-4F20-B855-5BC1489202DD}">
      <dsp:nvSpPr>
        <dsp:cNvPr id="0" name=""/>
        <dsp:cNvSpPr/>
      </dsp:nvSpPr>
      <dsp:spPr>
        <a:xfrm>
          <a:off x="5839844" y="1368024"/>
          <a:ext cx="2251417" cy="1933110"/>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8495727"/>
              <a:satOff val="44918"/>
              <a:lumOff val="-1268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US" sz="2400" kern="1200" err="1">
              <a:latin typeface="+mj-lt"/>
            </a:rPr>
            <a:t>Ofrecida</a:t>
          </a:r>
          <a:r>
            <a:rPr lang="en-US" sz="2400" kern="1200">
              <a:latin typeface="+mj-lt"/>
            </a:rPr>
            <a:t> </a:t>
          </a:r>
          <a:r>
            <a:rPr lang="en-US" sz="2400" kern="1200" err="1">
              <a:latin typeface="+mj-lt"/>
            </a:rPr>
            <a:t>por</a:t>
          </a:r>
          <a:r>
            <a:rPr lang="en-US" sz="2400" kern="1200">
              <a:latin typeface="+mj-lt"/>
            </a:rPr>
            <a:t> un colegio </a:t>
          </a:r>
          <a:r>
            <a:rPr lang="en-US" sz="2400" kern="1200" err="1">
              <a:latin typeface="+mj-lt"/>
            </a:rPr>
            <a:t>específico</a:t>
          </a:r>
          <a:r>
            <a:rPr lang="en-US" sz="2400" kern="1200">
              <a:latin typeface="+mj-lt"/>
            </a:rPr>
            <a:t> para que </a:t>
          </a:r>
          <a:r>
            <a:rPr lang="en-US" sz="2400" kern="1200" err="1">
              <a:latin typeface="+mj-lt"/>
            </a:rPr>
            <a:t>atiendas</a:t>
          </a:r>
          <a:r>
            <a:rPr lang="en-US" sz="2400" kern="1200">
              <a:latin typeface="+mj-lt"/>
            </a:rPr>
            <a:t> ese colegio</a:t>
          </a:r>
        </a:p>
      </dsp:txBody>
      <dsp:txXfrm>
        <a:off x="5896463" y="1424643"/>
        <a:ext cx="2138179" cy="1819872"/>
      </dsp:txXfrm>
    </dsp:sp>
    <dsp:sp modelId="{45954B7A-01FB-4B1B-A59A-5408199FD8DD}">
      <dsp:nvSpPr>
        <dsp:cNvPr id="0" name=""/>
        <dsp:cNvSpPr/>
      </dsp:nvSpPr>
      <dsp:spPr>
        <a:xfrm>
          <a:off x="8066967" y="292015"/>
          <a:ext cx="2458210" cy="882299"/>
        </a:xfrm>
        <a:prstGeom prst="roundRect">
          <a:avLst>
            <a:gd name="adj" fmla="val 10000"/>
          </a:avLst>
        </a:prstGeom>
        <a:solidFill>
          <a:schemeClr val="accent4">
            <a:hueOff val="-12743589"/>
            <a:satOff val="67377"/>
            <a:lumOff val="-1902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5245" tIns="36830" rIns="55245" bIns="36830" numCol="1" spcCol="1270" anchor="ctr" anchorCtr="0">
          <a:noAutofit/>
        </a:bodyPr>
        <a:lstStyle/>
        <a:p>
          <a:pPr marL="0" lvl="0" indent="0" algn="ctr" defTabSz="1289050">
            <a:lnSpc>
              <a:spcPct val="90000"/>
            </a:lnSpc>
            <a:spcBef>
              <a:spcPct val="0"/>
            </a:spcBef>
            <a:spcAft>
              <a:spcPct val="35000"/>
            </a:spcAft>
            <a:buNone/>
          </a:pPr>
          <a:r>
            <a:rPr lang="en-US" sz="2900" kern="1200" err="1">
              <a:latin typeface="+mj-lt"/>
            </a:rPr>
            <a:t>Organizaciones</a:t>
          </a:r>
          <a:endParaRPr lang="en-US" sz="2900" kern="1200">
            <a:latin typeface="+mj-lt"/>
          </a:endParaRPr>
        </a:p>
      </dsp:txBody>
      <dsp:txXfrm>
        <a:off x="8092809" y="317857"/>
        <a:ext cx="2406526" cy="830615"/>
      </dsp:txXfrm>
    </dsp:sp>
    <dsp:sp modelId="{97CF61D8-1652-456F-88AE-81DB2188D539}">
      <dsp:nvSpPr>
        <dsp:cNvPr id="0" name=""/>
        <dsp:cNvSpPr/>
      </dsp:nvSpPr>
      <dsp:spPr>
        <a:xfrm>
          <a:off x="8312788" y="1174315"/>
          <a:ext cx="235388" cy="1146963"/>
        </a:xfrm>
        <a:custGeom>
          <a:avLst/>
          <a:gdLst/>
          <a:ahLst/>
          <a:cxnLst/>
          <a:rect l="0" t="0" r="0" b="0"/>
          <a:pathLst>
            <a:path>
              <a:moveTo>
                <a:pt x="0" y="0"/>
              </a:moveTo>
              <a:lnTo>
                <a:pt x="0" y="1146963"/>
              </a:lnTo>
              <a:lnTo>
                <a:pt x="235388" y="1146963"/>
              </a:lnTo>
            </a:path>
          </a:pathLst>
        </a:custGeom>
        <a:noFill/>
        <a:ln w="12700" cap="flat" cmpd="sng" algn="ctr">
          <a:solidFill>
            <a:schemeClr val="accent5">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76E590-772B-435C-AFBA-ED2235312C32}">
      <dsp:nvSpPr>
        <dsp:cNvPr id="0" name=""/>
        <dsp:cNvSpPr/>
      </dsp:nvSpPr>
      <dsp:spPr>
        <a:xfrm>
          <a:off x="8548177" y="1351561"/>
          <a:ext cx="2242763" cy="1939436"/>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12743589"/>
              <a:satOff val="67377"/>
              <a:lumOff val="-1902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marL="0" lvl="0" indent="0" algn="l" defTabSz="1066800">
            <a:lnSpc>
              <a:spcPct val="90000"/>
            </a:lnSpc>
            <a:spcBef>
              <a:spcPct val="0"/>
            </a:spcBef>
            <a:spcAft>
              <a:spcPct val="35000"/>
            </a:spcAft>
            <a:buNone/>
          </a:pPr>
          <a:r>
            <a:rPr lang="en-US" sz="2400" kern="1200" err="1">
              <a:latin typeface="+mj-lt"/>
            </a:rPr>
            <a:t>Ofecida</a:t>
          </a:r>
          <a:r>
            <a:rPr lang="en-US" sz="2400" kern="1200">
              <a:latin typeface="+mj-lt"/>
            </a:rPr>
            <a:t> </a:t>
          </a:r>
          <a:r>
            <a:rPr lang="en-US" sz="2400" kern="1200" err="1">
              <a:latin typeface="+mj-lt"/>
            </a:rPr>
            <a:t>por</a:t>
          </a:r>
          <a:r>
            <a:rPr lang="en-US" sz="2400" kern="1200">
              <a:latin typeface="+mj-lt"/>
            </a:rPr>
            <a:t> </a:t>
          </a:r>
          <a:r>
            <a:rPr lang="en-US" sz="2400" kern="1200" err="1">
              <a:latin typeface="+mj-lt"/>
            </a:rPr>
            <a:t>organizaciones</a:t>
          </a:r>
          <a:r>
            <a:rPr lang="en-US" sz="2400" kern="1200">
              <a:latin typeface="+mj-lt"/>
            </a:rPr>
            <a:t> sin fines de </a:t>
          </a:r>
          <a:r>
            <a:rPr lang="en-US" sz="2400" kern="1200" err="1">
              <a:latin typeface="+mj-lt"/>
            </a:rPr>
            <a:t>lucro</a:t>
          </a:r>
          <a:r>
            <a:rPr lang="en-US" sz="2400" kern="1200">
              <a:latin typeface="+mj-lt"/>
            </a:rPr>
            <a:t>, </a:t>
          </a:r>
          <a:r>
            <a:rPr lang="en-US" sz="2400" kern="1200" err="1">
              <a:latin typeface="+mj-lt"/>
            </a:rPr>
            <a:t>negocios</a:t>
          </a:r>
          <a:r>
            <a:rPr lang="en-US" sz="2400" kern="1200">
              <a:latin typeface="+mj-lt"/>
            </a:rPr>
            <a:t>, Iglesias, </a:t>
          </a:r>
          <a:r>
            <a:rPr lang="en-US" sz="2400" kern="1200" err="1">
              <a:latin typeface="+mj-lt"/>
            </a:rPr>
            <a:t>ect</a:t>
          </a:r>
          <a:r>
            <a:rPr lang="en-US" sz="2400" kern="1200">
              <a:latin typeface="+mj-lt"/>
            </a:rPr>
            <a:t>. </a:t>
          </a:r>
        </a:p>
      </dsp:txBody>
      <dsp:txXfrm>
        <a:off x="8604981" y="1408365"/>
        <a:ext cx="2129155" cy="182582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D1DB7A-2623-4E40-8A97-21F71B94694E}">
      <dsp:nvSpPr>
        <dsp:cNvPr id="0" name=""/>
        <dsp:cNvSpPr/>
      </dsp:nvSpPr>
      <dsp:spPr>
        <a:xfrm>
          <a:off x="0" y="0"/>
          <a:ext cx="5038039" cy="884823"/>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rtl="0">
            <a:lnSpc>
              <a:spcPct val="90000"/>
            </a:lnSpc>
            <a:spcBef>
              <a:spcPct val="0"/>
            </a:spcBef>
            <a:spcAft>
              <a:spcPct val="35000"/>
            </a:spcAft>
            <a:buNone/>
          </a:pPr>
          <a:r>
            <a:rPr lang="en-US" sz="2900" kern="1200">
              <a:latin typeface="+mj-lt"/>
            </a:rPr>
            <a:t>Pell Grant/ </a:t>
          </a:r>
          <a:r>
            <a:rPr lang="en-US" sz="2900" kern="1200" err="1">
              <a:latin typeface="+mj-lt"/>
            </a:rPr>
            <a:t>Subvención</a:t>
          </a:r>
          <a:r>
            <a:rPr lang="en-US" sz="2900" kern="1200">
              <a:latin typeface="+mj-lt"/>
            </a:rPr>
            <a:t> Pell</a:t>
          </a:r>
        </a:p>
      </dsp:txBody>
      <dsp:txXfrm>
        <a:off x="43193" y="43193"/>
        <a:ext cx="4951653" cy="798437"/>
      </dsp:txXfrm>
    </dsp:sp>
    <dsp:sp modelId="{855489E8-F248-45DB-B8B1-75DDA1E139AD}">
      <dsp:nvSpPr>
        <dsp:cNvPr id="0" name=""/>
        <dsp:cNvSpPr/>
      </dsp:nvSpPr>
      <dsp:spPr>
        <a:xfrm>
          <a:off x="0" y="815182"/>
          <a:ext cx="5038039" cy="884823"/>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rtl="0">
            <a:lnSpc>
              <a:spcPct val="90000"/>
            </a:lnSpc>
            <a:spcBef>
              <a:spcPct val="0"/>
            </a:spcBef>
            <a:spcAft>
              <a:spcPct val="35000"/>
            </a:spcAft>
            <a:buNone/>
          </a:pPr>
          <a:r>
            <a:rPr lang="en-US" sz="2900" kern="1200" err="1">
              <a:latin typeface="+mj-lt"/>
            </a:rPr>
            <a:t>Trabajo</a:t>
          </a:r>
          <a:r>
            <a:rPr lang="en-US" sz="2900" kern="1200">
              <a:latin typeface="+mj-lt"/>
            </a:rPr>
            <a:t> y </a:t>
          </a:r>
          <a:r>
            <a:rPr lang="en-US" sz="2900" kern="1200" err="1">
              <a:latin typeface="+mj-lt"/>
            </a:rPr>
            <a:t>Estudio</a:t>
          </a:r>
          <a:r>
            <a:rPr lang="en-US" sz="2900" kern="1200">
              <a:latin typeface="+mj-lt"/>
            </a:rPr>
            <a:t> Federal</a:t>
          </a:r>
        </a:p>
      </dsp:txBody>
      <dsp:txXfrm>
        <a:off x="43193" y="858375"/>
        <a:ext cx="4951653" cy="798437"/>
      </dsp:txXfrm>
    </dsp:sp>
    <dsp:sp modelId="{CD12BA3A-2F4C-4219-A6A1-F4EEC1981CEB}">
      <dsp:nvSpPr>
        <dsp:cNvPr id="0" name=""/>
        <dsp:cNvSpPr/>
      </dsp:nvSpPr>
      <dsp:spPr>
        <a:xfrm>
          <a:off x="0" y="1802595"/>
          <a:ext cx="5038039" cy="884823"/>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rtl="0">
            <a:lnSpc>
              <a:spcPct val="90000"/>
            </a:lnSpc>
            <a:spcBef>
              <a:spcPct val="0"/>
            </a:spcBef>
            <a:spcAft>
              <a:spcPct val="35000"/>
            </a:spcAft>
            <a:buNone/>
          </a:pPr>
          <a:r>
            <a:rPr lang="es-ES" sz="2900" b="0" kern="1200">
              <a:latin typeface="+mj-lt"/>
            </a:rPr>
            <a:t>Préstamos Sin Subsidio/ Subsidiados</a:t>
          </a:r>
          <a:endParaRPr lang="en-US" sz="2900" b="0" kern="1200">
            <a:latin typeface="+mj-lt"/>
          </a:endParaRPr>
        </a:p>
      </dsp:txBody>
      <dsp:txXfrm>
        <a:off x="43193" y="1845788"/>
        <a:ext cx="4951653" cy="798437"/>
      </dsp:txXfrm>
    </dsp:sp>
    <dsp:sp modelId="{5AB01CB7-F3BC-41D1-B5E8-A88309A4CF61}">
      <dsp:nvSpPr>
        <dsp:cNvPr id="0" name=""/>
        <dsp:cNvSpPr/>
      </dsp:nvSpPr>
      <dsp:spPr>
        <a:xfrm>
          <a:off x="0" y="2693123"/>
          <a:ext cx="5038039" cy="884823"/>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ctr" defTabSz="1289050" rtl="0">
            <a:lnSpc>
              <a:spcPct val="90000"/>
            </a:lnSpc>
            <a:spcBef>
              <a:spcPct val="0"/>
            </a:spcBef>
            <a:spcAft>
              <a:spcPct val="35000"/>
            </a:spcAft>
            <a:buNone/>
          </a:pPr>
          <a:r>
            <a:rPr lang="en-US" sz="2900" kern="1200" err="1">
              <a:latin typeface="+mj-lt"/>
            </a:rPr>
            <a:t>Préstamo</a:t>
          </a:r>
          <a:r>
            <a:rPr lang="en-US" sz="2900" kern="1200">
              <a:latin typeface="+mj-lt"/>
            </a:rPr>
            <a:t> Para Padres</a:t>
          </a:r>
        </a:p>
      </dsp:txBody>
      <dsp:txXfrm>
        <a:off x="43193" y="2736316"/>
        <a:ext cx="4951653" cy="79843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B90C0F-8546-40EC-955C-8E30C8FA0D29}">
      <dsp:nvSpPr>
        <dsp:cNvPr id="0" name=""/>
        <dsp:cNvSpPr/>
      </dsp:nvSpPr>
      <dsp:spPr>
        <a:xfrm>
          <a:off x="0" y="0"/>
          <a:ext cx="5162551" cy="9609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a:latin typeface="+mj-lt"/>
            </a:rPr>
            <a:t>Washington College Grant </a:t>
          </a:r>
        </a:p>
        <a:p>
          <a:pPr marL="0" lvl="0" indent="0" algn="ctr" defTabSz="1066800" rtl="0">
            <a:lnSpc>
              <a:spcPct val="90000"/>
            </a:lnSpc>
            <a:spcBef>
              <a:spcPct val="0"/>
            </a:spcBef>
            <a:spcAft>
              <a:spcPct val="35000"/>
            </a:spcAft>
            <a:buNone/>
          </a:pPr>
          <a:r>
            <a:rPr lang="en-US" sz="2400" kern="1200">
              <a:latin typeface="+mj-lt"/>
            </a:rPr>
            <a:t>(conocido como WA Grant)</a:t>
          </a:r>
        </a:p>
      </dsp:txBody>
      <dsp:txXfrm>
        <a:off x="46912" y="46912"/>
        <a:ext cx="5068727" cy="867175"/>
      </dsp:txXfrm>
    </dsp:sp>
    <dsp:sp modelId="{D4F96D99-37BD-481E-BB4A-A5B6CDCAF097}">
      <dsp:nvSpPr>
        <dsp:cNvPr id="0" name=""/>
        <dsp:cNvSpPr/>
      </dsp:nvSpPr>
      <dsp:spPr>
        <a:xfrm>
          <a:off x="0" y="975713"/>
          <a:ext cx="5162551" cy="9609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a:latin typeface="+mj-lt"/>
            </a:rPr>
            <a:t>Beca College Bound</a:t>
          </a:r>
        </a:p>
      </dsp:txBody>
      <dsp:txXfrm>
        <a:off x="46912" y="1022625"/>
        <a:ext cx="5068727" cy="867175"/>
      </dsp:txXfrm>
    </dsp:sp>
    <dsp:sp modelId="{FDCC5EB3-5440-4D22-8B0E-23E0348BED7D}">
      <dsp:nvSpPr>
        <dsp:cNvPr id="0" name=""/>
        <dsp:cNvSpPr/>
      </dsp:nvSpPr>
      <dsp:spPr>
        <a:xfrm>
          <a:off x="0" y="1950466"/>
          <a:ext cx="5162551" cy="9609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err="1">
              <a:latin typeface="+mj-lt"/>
            </a:rPr>
            <a:t>Trabajo</a:t>
          </a:r>
          <a:r>
            <a:rPr lang="en-US" sz="2400" kern="1200">
              <a:latin typeface="+mj-lt"/>
            </a:rPr>
            <a:t> y </a:t>
          </a:r>
          <a:r>
            <a:rPr lang="en-US" sz="2400" kern="1200" err="1">
              <a:latin typeface="+mj-lt"/>
            </a:rPr>
            <a:t>Estudio</a:t>
          </a:r>
          <a:r>
            <a:rPr lang="en-US" sz="2400" kern="1200">
              <a:latin typeface="+mj-lt"/>
            </a:rPr>
            <a:t> </a:t>
          </a:r>
          <a:r>
            <a:rPr lang="en-US" sz="2400" kern="1200" err="1">
              <a:latin typeface="+mj-lt"/>
            </a:rPr>
            <a:t>Estatal</a:t>
          </a:r>
          <a:endParaRPr lang="en-US" sz="2400" kern="1200">
            <a:latin typeface="+mj-lt"/>
          </a:endParaRPr>
        </a:p>
      </dsp:txBody>
      <dsp:txXfrm>
        <a:off x="46912" y="1997378"/>
        <a:ext cx="5068727" cy="867175"/>
      </dsp:txXfrm>
    </dsp:sp>
    <dsp:sp modelId="{86B1EE22-7404-4D82-9598-047F608C0404}">
      <dsp:nvSpPr>
        <dsp:cNvPr id="0" name=""/>
        <dsp:cNvSpPr/>
      </dsp:nvSpPr>
      <dsp:spPr>
        <a:xfrm>
          <a:off x="0" y="2925218"/>
          <a:ext cx="5162551" cy="9609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err="1">
              <a:latin typeface="+mj-lt"/>
            </a:rPr>
            <a:t>Pasaporte</a:t>
          </a:r>
          <a:r>
            <a:rPr lang="en-US" sz="2400" kern="1200">
              <a:latin typeface="+mj-lt"/>
            </a:rPr>
            <a:t> a Carreras </a:t>
          </a:r>
        </a:p>
      </dsp:txBody>
      <dsp:txXfrm>
        <a:off x="46912" y="2972130"/>
        <a:ext cx="5068727" cy="867175"/>
      </dsp:txXfrm>
    </dsp:sp>
    <dsp:sp modelId="{A80CE770-6EF5-4476-B603-24C453019235}">
      <dsp:nvSpPr>
        <dsp:cNvPr id="0" name=""/>
        <dsp:cNvSpPr/>
      </dsp:nvSpPr>
      <dsp:spPr>
        <a:xfrm>
          <a:off x="0" y="3899971"/>
          <a:ext cx="5162551" cy="960999"/>
        </a:xfrm>
        <a:prstGeom prst="roundRect">
          <a:avLst/>
        </a:prstGeom>
        <a:solidFill>
          <a:schemeClr val="lt1">
            <a:hueOff val="0"/>
            <a:satOff val="0"/>
            <a:lumOff val="0"/>
            <a:alphaOff val="0"/>
          </a:schemeClr>
        </a:solidFill>
        <a:ln w="12700" cap="flat" cmpd="sng" algn="ctr">
          <a:solidFill>
            <a:schemeClr val="dk1">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rtl="0">
            <a:lnSpc>
              <a:spcPct val="90000"/>
            </a:lnSpc>
            <a:spcBef>
              <a:spcPct val="0"/>
            </a:spcBef>
            <a:spcAft>
              <a:spcPct val="35000"/>
            </a:spcAft>
            <a:buNone/>
          </a:pPr>
          <a:r>
            <a:rPr lang="en-US" sz="2400" kern="1200">
              <a:latin typeface="+mj-lt"/>
            </a:rPr>
            <a:t>Opportunity Grant/ Beca de </a:t>
          </a:r>
          <a:r>
            <a:rPr lang="en-US" sz="2400" kern="1200" err="1">
              <a:latin typeface="+mj-lt"/>
            </a:rPr>
            <a:t>Oportunidad</a:t>
          </a:r>
          <a:endParaRPr lang="en-US" sz="2400" kern="1200">
            <a:latin typeface="+mj-lt"/>
          </a:endParaRPr>
        </a:p>
      </dsp:txBody>
      <dsp:txXfrm>
        <a:off x="46912" y="3946883"/>
        <a:ext cx="5068727" cy="86717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450EA1-9FBD-453D-ACC2-A772BA55C55C}">
      <dsp:nvSpPr>
        <dsp:cNvPr id="0" name=""/>
        <dsp:cNvSpPr/>
      </dsp:nvSpPr>
      <dsp:spPr>
        <a:xfrm>
          <a:off x="65141" y="-202184"/>
          <a:ext cx="3570060" cy="1360827"/>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137160" numCol="1" spcCol="1270" anchor="t" anchorCtr="0">
          <a:noAutofit/>
        </a:bodyPr>
        <a:lstStyle/>
        <a:p>
          <a:pPr marL="0" lvl="0" indent="0" algn="l" defTabSz="1600200">
            <a:lnSpc>
              <a:spcPct val="90000"/>
            </a:lnSpc>
            <a:spcBef>
              <a:spcPct val="0"/>
            </a:spcBef>
            <a:spcAft>
              <a:spcPct val="35000"/>
            </a:spcAft>
            <a:buNone/>
          </a:pPr>
          <a:r>
            <a:rPr lang="en-US" sz="3600" b="1" i="1" kern="1200">
              <a:latin typeface="Tw Cen MT" panose="020B0602020104020603" pitchFamily="34" charset="0"/>
            </a:rPr>
            <a:t>Paso Uno</a:t>
          </a:r>
        </a:p>
      </dsp:txBody>
      <dsp:txXfrm>
        <a:off x="65141" y="-202184"/>
        <a:ext cx="3570060" cy="907218"/>
      </dsp:txXfrm>
    </dsp:sp>
    <dsp:sp modelId="{D42AD493-D081-4404-AEFE-F056A8EB8991}">
      <dsp:nvSpPr>
        <dsp:cNvPr id="0" name=""/>
        <dsp:cNvSpPr/>
      </dsp:nvSpPr>
      <dsp:spPr>
        <a:xfrm>
          <a:off x="801139" y="592089"/>
          <a:ext cx="3672557" cy="4131238"/>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228600" lvl="1" indent="-228600" algn="l" defTabSz="889000">
            <a:lnSpc>
              <a:spcPct val="90000"/>
            </a:lnSpc>
            <a:spcBef>
              <a:spcPct val="0"/>
            </a:spcBef>
            <a:spcAft>
              <a:spcPct val="15000"/>
            </a:spcAft>
            <a:buChar char="•"/>
          </a:pPr>
          <a:r>
            <a:rPr lang="en-US" sz="2000" kern="1200" err="1">
              <a:solidFill>
                <a:srgbClr val="02060A"/>
              </a:solidFill>
              <a:latin typeface="Tw Cen MT" panose="020B0602020104020603" pitchFamily="34" charset="0"/>
            </a:rPr>
            <a:t>Inscripción</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automática</a:t>
          </a:r>
          <a:r>
            <a:rPr lang="en-US" sz="2000" kern="1200">
              <a:solidFill>
                <a:srgbClr val="02060A"/>
              </a:solidFill>
              <a:latin typeface="Tw Cen MT" panose="020B0602020104020603" pitchFamily="34" charset="0"/>
            </a:rPr>
            <a:t> para </a:t>
          </a:r>
          <a:r>
            <a:rPr lang="en-US" sz="2000" kern="1200" err="1">
              <a:solidFill>
                <a:srgbClr val="02060A"/>
              </a:solidFill>
              <a:latin typeface="Tw Cen MT" panose="020B0602020104020603" pitchFamily="34" charset="0"/>
            </a:rPr>
            <a:t>estudiantes</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elegibles</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en</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escuelas</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publicas</a:t>
          </a:r>
          <a:r>
            <a:rPr lang="en-US" sz="2000" kern="1200">
              <a:solidFill>
                <a:srgbClr val="02060A"/>
              </a:solidFill>
              <a:latin typeface="Tw Cen MT" panose="020B0602020104020603" pitchFamily="34" charset="0"/>
            </a:rPr>
            <a:t>.</a:t>
          </a:r>
        </a:p>
        <a:p>
          <a:pPr marL="228600" lvl="1" indent="-228600" algn="l" defTabSz="889000">
            <a:lnSpc>
              <a:spcPct val="90000"/>
            </a:lnSpc>
            <a:spcBef>
              <a:spcPct val="0"/>
            </a:spcBef>
            <a:spcAft>
              <a:spcPct val="15000"/>
            </a:spcAft>
            <a:buChar char="•"/>
          </a:pPr>
          <a:r>
            <a:rPr lang="en-US" sz="2000" kern="1200">
              <a:solidFill>
                <a:srgbClr val="02060A"/>
              </a:solidFill>
              <a:latin typeface="Tw Cen MT" panose="020B0602020104020603" pitchFamily="34" charset="0"/>
            </a:rPr>
            <a:t>Eligible para </a:t>
          </a:r>
          <a:r>
            <a:rPr lang="en-US" sz="2000" kern="1200" err="1">
              <a:solidFill>
                <a:srgbClr val="02060A"/>
              </a:solidFill>
              <a:latin typeface="Tw Cen MT" panose="020B0602020104020603" pitchFamily="34" charset="0"/>
            </a:rPr>
            <a:t>comidas</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gratuitas</a:t>
          </a:r>
          <a:r>
            <a:rPr lang="en-US" sz="2000" kern="1200">
              <a:solidFill>
                <a:srgbClr val="02060A"/>
              </a:solidFill>
              <a:latin typeface="Tw Cen MT" panose="020B0602020104020603" pitchFamily="34" charset="0"/>
            </a:rPr>
            <a:t> y de </a:t>
          </a:r>
          <a:r>
            <a:rPr lang="en-US" sz="2000" kern="1200" err="1">
              <a:solidFill>
                <a:srgbClr val="02060A"/>
              </a:solidFill>
              <a:latin typeface="Tw Cen MT" panose="020B0602020104020603" pitchFamily="34" charset="0"/>
            </a:rPr>
            <a:t>precio</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reducido</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en</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los</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grado</a:t>
          </a:r>
          <a:r>
            <a:rPr lang="en-US" sz="2000" kern="1200">
              <a:solidFill>
                <a:srgbClr val="02060A"/>
              </a:solidFill>
              <a:latin typeface="Tw Cen MT" panose="020B0602020104020603" pitchFamily="34" charset="0"/>
            </a:rPr>
            <a:t> 7°y 8° o </a:t>
          </a:r>
          <a:r>
            <a:rPr lang="en-US" sz="2000" kern="1200" err="1">
              <a:solidFill>
                <a:srgbClr val="02060A"/>
              </a:solidFill>
              <a:latin typeface="Tw Cen MT" panose="020B0602020104020603" pitchFamily="34" charset="0"/>
            </a:rPr>
            <a:t>recien</a:t>
          </a:r>
          <a:r>
            <a:rPr lang="en-US" sz="2000" kern="1200">
              <a:solidFill>
                <a:srgbClr val="02060A"/>
              </a:solidFill>
              <a:latin typeface="Tw Cen MT" panose="020B0602020104020603" pitchFamily="34" charset="0"/>
            </a:rPr>
            <a:t> eligible </a:t>
          </a:r>
          <a:r>
            <a:rPr lang="en-US" sz="2000" kern="1200" err="1">
              <a:solidFill>
                <a:srgbClr val="02060A"/>
              </a:solidFill>
              <a:latin typeface="Tw Cen MT" panose="020B0602020104020603" pitchFamily="34" charset="0"/>
            </a:rPr>
            <a:t>en</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el</a:t>
          </a:r>
          <a:r>
            <a:rPr lang="en-US" sz="2000" kern="1200">
              <a:solidFill>
                <a:srgbClr val="02060A"/>
              </a:solidFill>
              <a:latin typeface="Tw Cen MT" panose="020B0602020104020603" pitchFamily="34" charset="0"/>
            </a:rPr>
            <a:t> </a:t>
          </a:r>
          <a:r>
            <a:rPr lang="en-US" sz="2000" kern="1200" err="1">
              <a:solidFill>
                <a:srgbClr val="02060A"/>
              </a:solidFill>
              <a:latin typeface="Tw Cen MT" panose="020B0602020104020603" pitchFamily="34" charset="0"/>
            </a:rPr>
            <a:t>grado</a:t>
          </a:r>
          <a:r>
            <a:rPr lang="en-US" sz="2000" kern="1200">
              <a:solidFill>
                <a:srgbClr val="02060A"/>
              </a:solidFill>
              <a:latin typeface="Tw Cen MT" panose="020B0602020104020603" pitchFamily="34" charset="0"/>
            </a:rPr>
            <a:t> 9°.  </a:t>
          </a:r>
        </a:p>
        <a:p>
          <a:pPr marL="228600" lvl="1" indent="-228600" algn="l" defTabSz="889000">
            <a:lnSpc>
              <a:spcPct val="90000"/>
            </a:lnSpc>
            <a:spcBef>
              <a:spcPct val="0"/>
            </a:spcBef>
            <a:spcAft>
              <a:spcPct val="15000"/>
            </a:spcAft>
            <a:buChar char="•"/>
          </a:pPr>
          <a:r>
            <a:rPr lang="es-ES" sz="2000" kern="1200">
              <a:solidFill>
                <a:srgbClr val="02060A"/>
              </a:solidFill>
              <a:latin typeface="Tw Cen MT" panose="020B0602020104020603" pitchFamily="34" charset="0"/>
            </a:rPr>
            <a:t>Los jóvenes de crianza (Foster Care </a:t>
          </a:r>
          <a:r>
            <a:rPr lang="es-ES" sz="2000" kern="1200" err="1">
              <a:solidFill>
                <a:srgbClr val="02060A"/>
              </a:solidFill>
              <a:latin typeface="Tw Cen MT" panose="020B0602020104020603" pitchFamily="34" charset="0"/>
            </a:rPr>
            <a:t>Youth</a:t>
          </a:r>
          <a:r>
            <a:rPr lang="es-ES" sz="2000" kern="1200">
              <a:solidFill>
                <a:srgbClr val="02060A"/>
              </a:solidFill>
              <a:latin typeface="Tw Cen MT" panose="020B0602020104020603" pitchFamily="34" charset="0"/>
            </a:rPr>
            <a:t>) son inscritos automáticamente hasta la graduación de la preparatoria.</a:t>
          </a:r>
          <a:endParaRPr lang="en-US" sz="2000" kern="1200">
            <a:solidFill>
              <a:srgbClr val="02060A"/>
            </a:solidFill>
            <a:latin typeface="Tw Cen MT" panose="020B0602020104020603" pitchFamily="34" charset="0"/>
          </a:endParaRPr>
        </a:p>
      </dsp:txBody>
      <dsp:txXfrm>
        <a:off x="908705" y="699655"/>
        <a:ext cx="3457425" cy="3916106"/>
      </dsp:txXfrm>
    </dsp:sp>
    <dsp:sp modelId="{E82F2CE7-4C1A-497F-BB88-DEF090CAF98F}">
      <dsp:nvSpPr>
        <dsp:cNvPr id="0" name=""/>
        <dsp:cNvSpPr/>
      </dsp:nvSpPr>
      <dsp:spPr>
        <a:xfrm rot="21584358">
          <a:off x="4174357" y="-205738"/>
          <a:ext cx="1143034" cy="887973"/>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77800">
            <a:lnSpc>
              <a:spcPct val="90000"/>
            </a:lnSpc>
            <a:spcBef>
              <a:spcPct val="0"/>
            </a:spcBef>
            <a:spcAft>
              <a:spcPct val="35000"/>
            </a:spcAft>
            <a:buNone/>
          </a:pPr>
          <a:endParaRPr lang="en-US" sz="400" kern="1200"/>
        </a:p>
      </dsp:txBody>
      <dsp:txXfrm>
        <a:off x="4174358" y="-27537"/>
        <a:ext cx="876642" cy="532783"/>
      </dsp:txXfrm>
    </dsp:sp>
    <dsp:sp modelId="{40E1B13B-2A28-4B8C-A623-EDD296FBB21D}">
      <dsp:nvSpPr>
        <dsp:cNvPr id="0" name=""/>
        <dsp:cNvSpPr/>
      </dsp:nvSpPr>
      <dsp:spPr>
        <a:xfrm>
          <a:off x="5791848" y="-228242"/>
          <a:ext cx="3570060" cy="136082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137160" numCol="1" spcCol="1270" anchor="t" anchorCtr="0">
          <a:noAutofit/>
        </a:bodyPr>
        <a:lstStyle/>
        <a:p>
          <a:pPr marL="0" lvl="0" indent="0" algn="l" defTabSz="1600200">
            <a:lnSpc>
              <a:spcPct val="90000"/>
            </a:lnSpc>
            <a:spcBef>
              <a:spcPct val="0"/>
            </a:spcBef>
            <a:spcAft>
              <a:spcPct val="35000"/>
            </a:spcAft>
            <a:buNone/>
          </a:pPr>
          <a:r>
            <a:rPr lang="en-US" sz="3600" b="1" i="1" kern="1200">
              <a:latin typeface="Tw Cen MT" panose="020B0602020104020603" pitchFamily="34" charset="0"/>
            </a:rPr>
            <a:t>Paso Dos</a:t>
          </a:r>
        </a:p>
      </dsp:txBody>
      <dsp:txXfrm>
        <a:off x="5791848" y="-228242"/>
        <a:ext cx="3570060" cy="907218"/>
      </dsp:txXfrm>
    </dsp:sp>
    <dsp:sp modelId="{9918773F-4A5D-45FF-B7C2-BFD1C22A9343}">
      <dsp:nvSpPr>
        <dsp:cNvPr id="0" name=""/>
        <dsp:cNvSpPr/>
      </dsp:nvSpPr>
      <dsp:spPr>
        <a:xfrm>
          <a:off x="6286456" y="543322"/>
          <a:ext cx="3570346" cy="4235469"/>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171450" lvl="1" indent="-171450" algn="l" defTabSz="800100">
            <a:lnSpc>
              <a:spcPct val="90000"/>
            </a:lnSpc>
            <a:spcBef>
              <a:spcPct val="0"/>
            </a:spcBef>
            <a:spcAft>
              <a:spcPct val="15000"/>
            </a:spcAft>
            <a:buChar char="•"/>
          </a:pPr>
          <a:r>
            <a:rPr lang="en-US" sz="1800" kern="1200" err="1">
              <a:solidFill>
                <a:srgbClr val="02060A"/>
              </a:solidFill>
              <a:latin typeface="Tw Cen MT" panose="020B0602020104020603" pitchFamily="34" charset="0"/>
            </a:rPr>
            <a:t>Cumplir</a:t>
          </a:r>
          <a:r>
            <a:rPr lang="en-US" sz="1800" kern="1200">
              <a:solidFill>
                <a:srgbClr val="02060A"/>
              </a:solidFill>
              <a:latin typeface="Tw Cen MT" panose="020B0602020104020603" pitchFamily="34" charset="0"/>
            </a:rPr>
            <a:t> con </a:t>
          </a:r>
          <a:r>
            <a:rPr lang="en-US" sz="1800" kern="1200" err="1">
              <a:solidFill>
                <a:srgbClr val="02060A"/>
              </a:solidFill>
              <a:latin typeface="Tw Cen MT" panose="020B0602020104020603" pitchFamily="34" charset="0"/>
            </a:rPr>
            <a:t>los</a:t>
          </a:r>
          <a:r>
            <a:rPr lang="en-US" sz="1800" kern="1200">
              <a:solidFill>
                <a:srgbClr val="02060A"/>
              </a:solidFill>
              <a:latin typeface="Tw Cen MT" panose="020B0602020104020603" pitchFamily="34" charset="0"/>
            </a:rPr>
            <a:t> </a:t>
          </a:r>
          <a:r>
            <a:rPr lang="en-US" sz="1800" kern="1200" err="1">
              <a:solidFill>
                <a:srgbClr val="02060A"/>
              </a:solidFill>
              <a:latin typeface="Tw Cen MT" panose="020B0602020104020603" pitchFamily="34" charset="0"/>
            </a:rPr>
            <a:t>compromisos</a:t>
          </a:r>
          <a:r>
            <a:rPr lang="en-US" sz="1800" kern="1200">
              <a:solidFill>
                <a:srgbClr val="02060A"/>
              </a:solidFill>
              <a:latin typeface="Tw Cen MT" panose="020B0602020104020603" pitchFamily="34" charset="0"/>
            </a:rPr>
            <a:t> de la </a:t>
          </a:r>
          <a:r>
            <a:rPr lang="en-US" sz="1800" kern="1200" err="1">
              <a:solidFill>
                <a:srgbClr val="02060A"/>
              </a:solidFill>
              <a:latin typeface="Tw Cen MT" panose="020B0602020104020603" pitchFamily="34" charset="0"/>
            </a:rPr>
            <a:t>beca</a:t>
          </a:r>
          <a:r>
            <a:rPr lang="en-US" sz="1800" kern="1200">
              <a:solidFill>
                <a:srgbClr val="02060A"/>
              </a:solidFill>
              <a:latin typeface="Tw Cen MT" panose="020B0602020104020603" pitchFamily="34" charset="0"/>
            </a:rPr>
            <a:t> College Bound.</a:t>
          </a:r>
        </a:p>
        <a:p>
          <a:pPr marL="171450" lvl="1" indent="-171450" algn="l" defTabSz="800100">
            <a:lnSpc>
              <a:spcPct val="90000"/>
            </a:lnSpc>
            <a:spcBef>
              <a:spcPct val="0"/>
            </a:spcBef>
            <a:spcAft>
              <a:spcPct val="15000"/>
            </a:spcAft>
            <a:buChar char="•"/>
          </a:pPr>
          <a:r>
            <a:rPr lang="en-US" sz="1800" kern="1200" err="1">
              <a:solidFill>
                <a:srgbClr val="02060A"/>
              </a:solidFill>
              <a:latin typeface="Tw Cen MT" panose="020B0602020104020603" pitchFamily="34" charset="0"/>
            </a:rPr>
            <a:t>Cumplir</a:t>
          </a:r>
          <a:r>
            <a:rPr lang="en-US" sz="1800" kern="1200">
              <a:solidFill>
                <a:srgbClr val="02060A"/>
              </a:solidFill>
              <a:latin typeface="Tw Cen MT" panose="020B0602020104020603" pitchFamily="34" charset="0"/>
            </a:rPr>
            <a:t> con </a:t>
          </a:r>
          <a:r>
            <a:rPr lang="en-US" sz="1800" kern="1200" err="1">
              <a:solidFill>
                <a:srgbClr val="02060A"/>
              </a:solidFill>
              <a:latin typeface="Tw Cen MT" panose="020B0602020104020603" pitchFamily="34" charset="0"/>
            </a:rPr>
            <a:t>los</a:t>
          </a:r>
          <a:r>
            <a:rPr lang="en-US" sz="1800" kern="1200">
              <a:solidFill>
                <a:srgbClr val="02060A"/>
              </a:solidFill>
              <a:latin typeface="Tw Cen MT" panose="020B0602020104020603" pitchFamily="34" charset="0"/>
            </a:rPr>
            <a:t> requisites de </a:t>
          </a:r>
          <a:r>
            <a:rPr lang="en-US" sz="1800" kern="1200" err="1">
              <a:solidFill>
                <a:srgbClr val="02060A"/>
              </a:solidFill>
              <a:latin typeface="Tw Cen MT" panose="020B0602020104020603" pitchFamily="34" charset="0"/>
            </a:rPr>
            <a:t>ingreso</a:t>
          </a:r>
          <a:r>
            <a:rPr lang="en-US" sz="1800" kern="1200">
              <a:solidFill>
                <a:srgbClr val="02060A"/>
              </a:solidFill>
              <a:latin typeface="Tw Cen MT" panose="020B0602020104020603" pitchFamily="34" charset="0"/>
            </a:rPr>
            <a:t> y residencia.</a:t>
          </a:r>
        </a:p>
        <a:p>
          <a:pPr marL="171450" lvl="1" indent="-171450" algn="l" defTabSz="800100">
            <a:lnSpc>
              <a:spcPct val="90000"/>
            </a:lnSpc>
            <a:spcBef>
              <a:spcPct val="0"/>
            </a:spcBef>
            <a:spcAft>
              <a:spcPct val="15000"/>
            </a:spcAft>
            <a:buChar char="•"/>
          </a:pPr>
          <a:r>
            <a:rPr lang="en-US" sz="1800" kern="1200">
              <a:solidFill>
                <a:srgbClr val="02060A"/>
              </a:solidFill>
              <a:latin typeface="Tw Cen MT" panose="020B0602020104020603" pitchFamily="34" charset="0"/>
            </a:rPr>
            <a:t>Ser </a:t>
          </a:r>
          <a:r>
            <a:rPr lang="en-US" sz="1800" kern="1200" err="1">
              <a:solidFill>
                <a:srgbClr val="02060A"/>
              </a:solidFill>
              <a:latin typeface="Tw Cen MT" panose="020B0602020104020603" pitchFamily="34" charset="0"/>
            </a:rPr>
            <a:t>acceptado</a:t>
          </a:r>
          <a:r>
            <a:rPr lang="en-US" sz="1800" kern="1200">
              <a:solidFill>
                <a:srgbClr val="02060A"/>
              </a:solidFill>
              <a:latin typeface="Tw Cen MT" panose="020B0602020104020603" pitchFamily="34" charset="0"/>
            </a:rPr>
            <a:t> y </a:t>
          </a:r>
          <a:r>
            <a:rPr lang="en-US" sz="1800" kern="1200" err="1">
              <a:solidFill>
                <a:srgbClr val="02060A"/>
              </a:solidFill>
              <a:latin typeface="Tw Cen MT" panose="020B0602020104020603" pitchFamily="34" charset="0"/>
            </a:rPr>
            <a:t>asistir</a:t>
          </a:r>
          <a:r>
            <a:rPr lang="en-US" sz="1800" kern="1200">
              <a:solidFill>
                <a:srgbClr val="02060A"/>
              </a:solidFill>
              <a:latin typeface="Tw Cen MT" panose="020B0602020104020603" pitchFamily="34" charset="0"/>
            </a:rPr>
            <a:t> a </a:t>
          </a:r>
          <a:r>
            <a:rPr lang="en-US" sz="1800" kern="1200" err="1">
              <a:solidFill>
                <a:srgbClr val="02060A"/>
              </a:solidFill>
              <a:latin typeface="Tw Cen MT" panose="020B0602020104020603" pitchFamily="34" charset="0"/>
            </a:rPr>
            <a:t>una</a:t>
          </a:r>
          <a:r>
            <a:rPr lang="en-US" sz="1800" kern="1200">
              <a:solidFill>
                <a:srgbClr val="02060A"/>
              </a:solidFill>
              <a:latin typeface="Tw Cen MT" panose="020B0602020104020603" pitchFamily="34" charset="0"/>
            </a:rPr>
            <a:t> </a:t>
          </a:r>
          <a:r>
            <a:rPr lang="en-US" sz="1800" kern="1200" err="1">
              <a:solidFill>
                <a:srgbClr val="02060A"/>
              </a:solidFill>
              <a:latin typeface="Tw Cen MT" panose="020B0602020104020603" pitchFamily="34" charset="0"/>
            </a:rPr>
            <a:t>universidad</a:t>
          </a:r>
          <a:r>
            <a:rPr lang="en-US" sz="1800" kern="1200">
              <a:solidFill>
                <a:srgbClr val="02060A"/>
              </a:solidFill>
              <a:latin typeface="Tw Cen MT" panose="020B0602020104020603" pitchFamily="34" charset="0"/>
            </a:rPr>
            <a:t> o colegio eligible. </a:t>
          </a:r>
        </a:p>
      </dsp:txBody>
      <dsp:txXfrm>
        <a:off x="6391028" y="647894"/>
        <a:ext cx="3361202" cy="4026325"/>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14.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066B0C-B315-41CA-8A2D-AEA6C94A7951}" type="datetimeFigureOut">
              <a:rPr lang="en-US" smtClean="0"/>
              <a:t>8/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83822A-29A8-4DE4-8EB5-04095DD45EA7}" type="slidenum">
              <a:rPr lang="en-US" smtClean="0"/>
              <a:t>‹#›</a:t>
            </a:fld>
            <a:endParaRPr lang="en-US"/>
          </a:p>
        </p:txBody>
      </p:sp>
    </p:spTree>
    <p:extLst>
      <p:ext uri="{BB962C8B-B14F-4D97-AF65-F5344CB8AC3E}">
        <p14:creationId xmlns:p14="http://schemas.microsoft.com/office/powerpoint/2010/main" val="39903924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thewashboard.org/"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sac.wa.gov/apply"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sac.wa.gov/sfa-institutions"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Introduction to Financial Aid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9A179D-2D27-49E2-B022-8EDDA2EFE682}" type="slidenum">
              <a:rPr kumimoji="0" lang="en-US" sz="1200" b="0" i="0" u="none" strike="noStrike" kern="1200" cap="none" spc="0" normalizeH="0" baseline="0" noProof="0" smtClean="0">
                <a:ln>
                  <a:noFill/>
                </a:ln>
                <a:solidFill>
                  <a:srgbClr val="595959"/>
                </a:solidFill>
                <a:effectLst/>
                <a:uLnTx/>
                <a:uFillTx/>
                <a:latin typeface="Book Antiqu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srgbClr val="595959"/>
              </a:solidFill>
              <a:effectLst/>
              <a:uLnTx/>
              <a:uFillTx/>
              <a:latin typeface="Book Antiqua"/>
              <a:ea typeface="+mn-ea"/>
              <a:cs typeface="+mn-cs"/>
            </a:endParaRPr>
          </a:p>
        </p:txBody>
      </p:sp>
    </p:spTree>
    <p:extLst>
      <p:ext uri="{BB962C8B-B14F-4D97-AF65-F5344CB8AC3E}">
        <p14:creationId xmlns:p14="http://schemas.microsoft.com/office/powerpoint/2010/main" val="3065105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El </a:t>
            </a:r>
            <a:r>
              <a:rPr lang="en-US" sz="1200" err="1"/>
              <a:t>programa</a:t>
            </a:r>
            <a:r>
              <a:rPr lang="en-US" sz="1200"/>
              <a:t> de </a:t>
            </a:r>
            <a:r>
              <a:rPr lang="en-US" sz="1200" err="1"/>
              <a:t>trabajo</a:t>
            </a:r>
            <a:r>
              <a:rPr lang="en-US" sz="1200"/>
              <a:t> y </a:t>
            </a:r>
            <a:r>
              <a:rPr lang="en-US" sz="1200" err="1"/>
              <a:t>estudio</a:t>
            </a:r>
            <a:r>
              <a:rPr lang="en-US" sz="1200"/>
              <a:t>/ Work Study es un </a:t>
            </a:r>
            <a:r>
              <a:rPr lang="en-US" sz="1200" err="1"/>
              <a:t>programa</a:t>
            </a:r>
            <a:r>
              <a:rPr lang="en-US" sz="1200"/>
              <a:t> </a:t>
            </a:r>
            <a:r>
              <a:rPr lang="en-US" sz="1200" err="1"/>
              <a:t>basado</a:t>
            </a:r>
            <a:r>
              <a:rPr lang="en-US" sz="1200"/>
              <a:t> </a:t>
            </a:r>
            <a:r>
              <a:rPr lang="en-US" sz="1200" err="1"/>
              <a:t>en</a:t>
            </a:r>
            <a:r>
              <a:rPr lang="en-US" sz="1200"/>
              <a:t> </a:t>
            </a:r>
            <a:r>
              <a:rPr lang="en-US" sz="1200" err="1"/>
              <a:t>los</a:t>
            </a:r>
            <a:r>
              <a:rPr lang="en-US" sz="1200"/>
              <a:t> </a:t>
            </a:r>
            <a:r>
              <a:rPr lang="en-US" sz="1200" err="1"/>
              <a:t>ingresos</a:t>
            </a:r>
            <a:r>
              <a:rPr lang="en-US" sz="1200"/>
              <a:t> </a:t>
            </a:r>
            <a:r>
              <a:rPr lang="en-US" sz="1200" err="1"/>
              <a:t>reportados</a:t>
            </a:r>
            <a:r>
              <a:rPr lang="en-US" sz="1200"/>
              <a:t> </a:t>
            </a:r>
            <a:r>
              <a:rPr lang="en-US" sz="1200" err="1"/>
              <a:t>por</a:t>
            </a:r>
            <a:r>
              <a:rPr lang="en-US" sz="1200"/>
              <a:t> </a:t>
            </a:r>
            <a:r>
              <a:rPr lang="en-US" sz="1200" err="1"/>
              <a:t>el</a:t>
            </a:r>
            <a:r>
              <a:rPr lang="en-US" sz="1200"/>
              <a:t> </a:t>
            </a:r>
            <a:r>
              <a:rPr lang="en-US" sz="1200" err="1"/>
              <a:t>estudiante</a:t>
            </a:r>
            <a:r>
              <a:rPr lang="en-US" sz="1200"/>
              <a:t>, </a:t>
            </a:r>
            <a:r>
              <a:rPr lang="en-US" sz="1200" err="1"/>
              <a:t>proporcionado</a:t>
            </a:r>
            <a:r>
              <a:rPr lang="en-US" sz="1200"/>
              <a:t> tanto </a:t>
            </a:r>
            <a:r>
              <a:rPr lang="en-US" sz="1200" err="1"/>
              <a:t>por</a:t>
            </a:r>
            <a:r>
              <a:rPr lang="en-US" sz="1200"/>
              <a:t> </a:t>
            </a:r>
            <a:r>
              <a:rPr lang="en-US" sz="1200" err="1"/>
              <a:t>el</a:t>
            </a:r>
            <a:r>
              <a:rPr lang="en-US" sz="1200"/>
              <a:t> </a:t>
            </a:r>
            <a:r>
              <a:rPr lang="en-US" sz="1200" err="1"/>
              <a:t>gobierno</a:t>
            </a:r>
            <a:r>
              <a:rPr lang="en-US" sz="1200"/>
              <a:t> federal </a:t>
            </a:r>
            <a:r>
              <a:rPr lang="en-US" sz="1200" err="1"/>
              <a:t>como</a:t>
            </a:r>
            <a:r>
              <a:rPr lang="en-US" sz="1200"/>
              <a:t> </a:t>
            </a:r>
            <a:r>
              <a:rPr lang="en-US" sz="1200" err="1"/>
              <a:t>por</a:t>
            </a:r>
            <a:r>
              <a:rPr lang="en-US" sz="1200"/>
              <a:t> </a:t>
            </a:r>
            <a:r>
              <a:rPr lang="en-US" sz="1200" err="1"/>
              <a:t>el</a:t>
            </a:r>
            <a:r>
              <a:rPr lang="en-US" sz="1200"/>
              <a:t> </a:t>
            </a:r>
            <a:r>
              <a:rPr lang="en-US" sz="1200" err="1"/>
              <a:t>estatal</a:t>
            </a:r>
            <a:r>
              <a:rPr lang="en-US" sz="1200"/>
              <a:t>. Un </a:t>
            </a:r>
            <a:r>
              <a:rPr lang="en-US" sz="1200" err="1"/>
              <a:t>estudiante</a:t>
            </a:r>
            <a:r>
              <a:rPr lang="en-US" sz="1200"/>
              <a:t> </a:t>
            </a:r>
            <a:r>
              <a:rPr lang="en-US" sz="1200" err="1"/>
              <a:t>debe</a:t>
            </a:r>
            <a:r>
              <a:rPr lang="en-US" sz="1200"/>
              <a:t> </a:t>
            </a:r>
            <a:r>
              <a:rPr lang="en-US" sz="1200" err="1"/>
              <a:t>seleccionar</a:t>
            </a:r>
            <a:r>
              <a:rPr lang="en-US" sz="1200"/>
              <a:t> que </a:t>
            </a:r>
            <a:r>
              <a:rPr lang="en-US" sz="1200" err="1"/>
              <a:t>está</a:t>
            </a:r>
            <a:r>
              <a:rPr lang="en-US" sz="1200"/>
              <a:t> </a:t>
            </a:r>
            <a:r>
              <a:rPr lang="en-US" sz="1200" err="1"/>
              <a:t>interesado</a:t>
            </a:r>
            <a:r>
              <a:rPr lang="en-US" sz="1200"/>
              <a:t> </a:t>
            </a:r>
            <a:r>
              <a:rPr lang="en-US" sz="1200" err="1"/>
              <a:t>en</a:t>
            </a:r>
            <a:r>
              <a:rPr lang="en-US" sz="1200"/>
              <a:t> </a:t>
            </a:r>
            <a:r>
              <a:rPr lang="en-US" sz="1200" err="1"/>
              <a:t>el</a:t>
            </a:r>
            <a:r>
              <a:rPr lang="en-US" sz="1200"/>
              <a:t> </a:t>
            </a:r>
            <a:r>
              <a:rPr lang="en-US" sz="1200" err="1"/>
              <a:t>programa</a:t>
            </a:r>
            <a:r>
              <a:rPr lang="en-US" sz="1200"/>
              <a:t> de </a:t>
            </a:r>
            <a:r>
              <a:rPr lang="en-US" sz="1200" err="1"/>
              <a:t>trabajo</a:t>
            </a:r>
            <a:r>
              <a:rPr lang="en-US" sz="1200"/>
              <a:t> y </a:t>
            </a:r>
            <a:r>
              <a:rPr lang="en-US" sz="1200" err="1"/>
              <a:t>estudio</a:t>
            </a:r>
            <a:r>
              <a:rPr lang="en-US" sz="1200"/>
              <a:t> </a:t>
            </a:r>
            <a:r>
              <a:rPr lang="en-US" sz="1200" err="1"/>
              <a:t>en</a:t>
            </a:r>
            <a:r>
              <a:rPr lang="en-US" sz="1200"/>
              <a:t> </a:t>
            </a:r>
            <a:r>
              <a:rPr lang="en-US" sz="1200" err="1"/>
              <a:t>su</a:t>
            </a:r>
            <a:r>
              <a:rPr lang="en-US" sz="1200"/>
              <a:t> </a:t>
            </a:r>
            <a:r>
              <a:rPr lang="en-US" sz="1200" err="1"/>
              <a:t>solicitud</a:t>
            </a:r>
            <a:r>
              <a:rPr lang="en-US" sz="1200"/>
              <a:t> de </a:t>
            </a:r>
            <a:r>
              <a:rPr lang="en-US" sz="1200" err="1"/>
              <a:t>ayuda</a:t>
            </a:r>
            <a:r>
              <a:rPr lang="en-US" sz="1200"/>
              <a:t> </a:t>
            </a:r>
            <a:r>
              <a:rPr lang="en-US" sz="1200" err="1"/>
              <a:t>financiera</a:t>
            </a:r>
            <a:r>
              <a:rPr lang="en-US" sz="1200"/>
              <a:t> para ser </a:t>
            </a:r>
            <a:r>
              <a:rPr lang="en-US" sz="1200" err="1"/>
              <a:t>considerado</a:t>
            </a:r>
            <a:r>
              <a:rPr lang="en-US" sz="1200"/>
              <a:t> para </a:t>
            </a:r>
            <a:r>
              <a:rPr lang="en-US" sz="1200" err="1"/>
              <a:t>este</a:t>
            </a:r>
            <a:r>
              <a:rPr lang="en-US" sz="1200"/>
              <a:t> </a:t>
            </a:r>
            <a:r>
              <a:rPr lang="en-US" sz="1200" err="1"/>
              <a:t>programa</a:t>
            </a:r>
            <a:r>
              <a:rPr lang="en-US" sz="120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Work Stud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Work-Study provides part-time jobs for students with financial need, allowing them to earn money to help pay education expenses. These jobs are typically on campu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r>
              <a:rPr lang="en-US"/>
              <a:t>Work Study is an income-based program provided by both the federal and state.  A student must select they are interested in Work Study on their financial aid application in order to be considered for this program.  </a:t>
            </a:r>
          </a:p>
        </p:txBody>
      </p:sp>
      <p:sp>
        <p:nvSpPr>
          <p:cNvPr id="4" name="Slide Number Placeholder 3"/>
          <p:cNvSpPr>
            <a:spLocks noGrp="1"/>
          </p:cNvSpPr>
          <p:nvPr>
            <p:ph type="sldNum" sz="quarter" idx="5"/>
          </p:nvPr>
        </p:nvSpPr>
        <p:spPr/>
        <p:txBody>
          <a:bodyPr/>
          <a:lstStyle/>
          <a:p>
            <a:fld id="{F183822A-29A8-4DE4-8EB5-04095DD45EA7}" type="slidenum">
              <a:rPr lang="en-US" smtClean="0"/>
              <a:t>10</a:t>
            </a:fld>
            <a:endParaRPr lang="en-US"/>
          </a:p>
        </p:txBody>
      </p:sp>
    </p:spTree>
    <p:extLst>
      <p:ext uri="{BB962C8B-B14F-4D97-AF65-F5344CB8AC3E}">
        <p14:creationId xmlns:p14="http://schemas.microsoft.com/office/powerpoint/2010/main" val="40410527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none">
                <a:solidFill>
                  <a:prstClr val="white"/>
                </a:solidFill>
                <a:latin typeface="Tw Cen MT Condensed Extra Bold" panose="020B0803020202020204" pitchFamily="34" charset="0"/>
              </a:rPr>
              <a:t>Para mas </a:t>
            </a:r>
            <a:r>
              <a:rPr lang="en-US" sz="1200" u="none" err="1">
                <a:solidFill>
                  <a:prstClr val="white"/>
                </a:solidFill>
                <a:latin typeface="Tw Cen MT Condensed Extra Bold" panose="020B0803020202020204" pitchFamily="34" charset="0"/>
              </a:rPr>
              <a:t>informacion</a:t>
            </a:r>
            <a:r>
              <a:rPr lang="en-US" sz="1200" u="none">
                <a:solidFill>
                  <a:prstClr val="white"/>
                </a:solidFill>
                <a:latin typeface="Tw Cen MT Condensed Extra Bold" panose="020B0803020202020204" pitchFamily="34" charset="0"/>
              </a:rPr>
              <a:t> </a:t>
            </a:r>
            <a:r>
              <a:rPr lang="en-US" sz="1200" u="none" err="1">
                <a:solidFill>
                  <a:prstClr val="white"/>
                </a:solidFill>
                <a:latin typeface="Tw Cen MT Condensed Extra Bold" panose="020B0803020202020204" pitchFamily="34" charset="0"/>
              </a:rPr>
              <a:t>sobre</a:t>
            </a:r>
            <a:r>
              <a:rPr lang="en-US" sz="1200" u="none">
                <a:solidFill>
                  <a:prstClr val="white"/>
                </a:solidFill>
                <a:latin typeface="Tw Cen MT Condensed Extra Bold" panose="020B0803020202020204" pitchFamily="34" charset="0"/>
              </a:rPr>
              <a:t> prestamos estudiantiles federales, </a:t>
            </a:r>
            <a:r>
              <a:rPr lang="en-US" sz="1200" u="none" err="1">
                <a:solidFill>
                  <a:prstClr val="white"/>
                </a:solidFill>
                <a:latin typeface="Tw Cen MT Condensed Extra Bold" panose="020B0803020202020204" pitchFamily="34" charset="0"/>
              </a:rPr>
              <a:t>visite</a:t>
            </a:r>
            <a:r>
              <a:rPr lang="en-US" sz="1200" u="none">
                <a:solidFill>
                  <a:prstClr val="white"/>
                </a:solidFill>
                <a:latin typeface="Tw Cen MT Condensed Extra Bold" panose="020B0803020202020204" pitchFamily="34" charset="0"/>
              </a:rPr>
              <a:t> </a:t>
            </a:r>
            <a:r>
              <a:rPr lang="en-US"/>
              <a:t>https://studentaid.gov/understand-aid/types/loans. </a:t>
            </a:r>
            <a:r>
              <a:rPr lang="en-US" err="1"/>
              <a:t>Usted</a:t>
            </a:r>
            <a:r>
              <a:rPr lang="en-US"/>
              <a:t> </a:t>
            </a:r>
            <a:r>
              <a:rPr lang="en-US" err="1"/>
              <a:t>puede</a:t>
            </a:r>
            <a:r>
              <a:rPr lang="en-US"/>
              <a:t> </a:t>
            </a:r>
            <a:r>
              <a:rPr lang="en-US" err="1"/>
              <a:t>encontrar</a:t>
            </a:r>
            <a:r>
              <a:rPr lang="en-US"/>
              <a:t> </a:t>
            </a:r>
            <a:r>
              <a:rPr lang="en-US" err="1"/>
              <a:t>recurosos</a:t>
            </a:r>
            <a:r>
              <a:rPr lang="en-US"/>
              <a:t> </a:t>
            </a:r>
            <a:r>
              <a:rPr lang="en-US" err="1"/>
              <a:t>sobre</a:t>
            </a:r>
            <a:r>
              <a:rPr lang="en-US"/>
              <a:t> prestamos </a:t>
            </a:r>
            <a:r>
              <a:rPr lang="en-US" err="1"/>
              <a:t>estudantiles</a:t>
            </a:r>
            <a:r>
              <a:rPr lang="en-US"/>
              <a:t> en </a:t>
            </a:r>
            <a:r>
              <a:rPr lang="en-US" err="1"/>
              <a:t>nuestra</a:t>
            </a:r>
            <a:r>
              <a:rPr lang="en-US"/>
              <a:t> </a:t>
            </a:r>
            <a:r>
              <a:rPr lang="en-US" err="1"/>
              <a:t>pagina</a:t>
            </a:r>
            <a:r>
              <a:rPr lang="en-US"/>
              <a:t> de </a:t>
            </a:r>
            <a:r>
              <a:rPr lang="en-US" err="1"/>
              <a:t>abogacia</a:t>
            </a:r>
            <a:r>
              <a:rPr lang="en-US"/>
              <a:t> de prestamos estudiantiles en https://wsac.wa.gov/loan-advocacy y https://www.studentloaned.wa.gov/    </a:t>
            </a:r>
            <a:endParaRPr lang="en-US" sz="1200" u="none">
              <a:solidFill>
                <a:prstClr val="white"/>
              </a:solidFill>
              <a:latin typeface="Tw Cen MT Condensed Extra Bold" panose="020B0803020202020204" pitchFamily="34" charset="0"/>
            </a:endParaRPr>
          </a:p>
          <a:p>
            <a:endParaRPr lang="en-US" sz="1200" u="sng">
              <a:solidFill>
                <a:prstClr val="white"/>
              </a:solidFill>
              <a:latin typeface="Tw Cen MT Condensed Extra Bold" panose="020B0803020202020204" pitchFamily="34" charset="0"/>
            </a:endParaRPr>
          </a:p>
          <a:p>
            <a:r>
              <a:rPr lang="en-US" sz="1200" u="sng">
                <a:solidFill>
                  <a:prstClr val="white"/>
                </a:solidFill>
                <a:latin typeface="Tw Cen MT Condensed Extra Bold" panose="020B0803020202020204" pitchFamily="34" charset="0"/>
              </a:rPr>
              <a:t>Loans</a:t>
            </a:r>
          </a:p>
          <a:p>
            <a:r>
              <a:rPr lang="en-US" u="sng"/>
              <a:t>A student loan is money you borrow for your education and pay back over time. Unlike grants or work-study you do have to pay back your loans. You do not have to accept all the loans offered to you.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i="0" u="sng">
                <a:latin typeface="+mj-lt"/>
              </a:rPr>
              <a:t>Unsubsidized Student Loa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sng">
                <a:latin typeface="+mj-lt"/>
              </a:rPr>
              <a:t>Interest begins accruing as soon as the loan is disbursed, including while you are enrolled in school</a:t>
            </a:r>
            <a:endParaRPr lang="en-US" b="1" u="sng">
              <a:latin typeface="+mj-lt"/>
            </a:endParaRPr>
          </a:p>
          <a:p>
            <a:pPr lvl="0"/>
            <a:r>
              <a:rPr lang="en-US" b="1" i="0" u="sng">
                <a:latin typeface="+mj-lt"/>
              </a:rPr>
              <a:t>Subsidized Student Loans</a:t>
            </a:r>
            <a:endParaRPr lang="en-US" u="sng">
              <a:latin typeface="+mj-lt"/>
            </a:endParaRPr>
          </a:p>
          <a:p>
            <a:r>
              <a:rPr lang="en-US" u="sng"/>
              <a:t>Interest is paid by while you're enrolled at least half time in college.</a:t>
            </a:r>
          </a:p>
          <a:p>
            <a:endParaRPr lang="en-US"/>
          </a:p>
          <a:p>
            <a:r>
              <a:rPr lang="en-US"/>
              <a:t>For more information about federal student loans, go to https://studentaid.gov/understand-aid/types/loans </a:t>
            </a:r>
          </a:p>
          <a:p>
            <a:r>
              <a:rPr lang="en-US"/>
              <a:t>You can find resources on student loans at our student loan advocacy site at https://wsac.wa.gov/loan-advocacy and https://www.studentloaned.wa.gov/ </a:t>
            </a:r>
          </a:p>
        </p:txBody>
      </p:sp>
      <p:sp>
        <p:nvSpPr>
          <p:cNvPr id="4" name="Slide Number Placeholder 3"/>
          <p:cNvSpPr>
            <a:spLocks noGrp="1"/>
          </p:cNvSpPr>
          <p:nvPr>
            <p:ph type="sldNum" sz="quarter" idx="5"/>
          </p:nvPr>
        </p:nvSpPr>
        <p:spPr/>
        <p:txBody>
          <a:bodyPr/>
          <a:lstStyle/>
          <a:p>
            <a:fld id="{F183822A-29A8-4DE4-8EB5-04095DD45EA7}" type="slidenum">
              <a:rPr lang="en-US" smtClean="0"/>
              <a:t>11</a:t>
            </a:fld>
            <a:endParaRPr lang="en-US"/>
          </a:p>
        </p:txBody>
      </p:sp>
    </p:spTree>
    <p:extLst>
      <p:ext uri="{BB962C8B-B14F-4D97-AF65-F5344CB8AC3E}">
        <p14:creationId xmlns:p14="http://schemas.microsoft.com/office/powerpoint/2010/main" val="42773721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none"/>
              <a:t>La </a:t>
            </a:r>
            <a:r>
              <a:rPr lang="en-US" sz="1200" u="none" err="1"/>
              <a:t>ayuda</a:t>
            </a:r>
            <a:r>
              <a:rPr lang="en-US" sz="1200" u="none"/>
              <a:t> </a:t>
            </a:r>
            <a:r>
              <a:rPr lang="en-US" sz="1200" u="none" err="1"/>
              <a:t>financiera</a:t>
            </a:r>
            <a:r>
              <a:rPr lang="en-US" sz="1200" u="none"/>
              <a:t> </a:t>
            </a:r>
            <a:r>
              <a:rPr lang="en-US" sz="1200" u="none" err="1"/>
              <a:t>puede</a:t>
            </a:r>
            <a:r>
              <a:rPr lang="en-US" sz="1200" u="none"/>
              <a:t> </a:t>
            </a:r>
            <a:r>
              <a:rPr lang="en-US" sz="1200" u="none" err="1"/>
              <a:t>provenir</a:t>
            </a:r>
            <a:r>
              <a:rPr lang="en-US" sz="1200" u="none"/>
              <a:t> de </a:t>
            </a:r>
            <a:r>
              <a:rPr lang="en-US" sz="1200" u="none" err="1"/>
              <a:t>varias</a:t>
            </a:r>
            <a:r>
              <a:rPr lang="en-US" sz="1200" u="none"/>
              <a:t> </a:t>
            </a:r>
            <a:r>
              <a:rPr lang="en-US" sz="1200" u="none" err="1"/>
              <a:t>fuentes</a:t>
            </a:r>
            <a:r>
              <a:rPr lang="en-US" sz="1200" u="none"/>
              <a:t>. La </a:t>
            </a:r>
            <a:r>
              <a:rPr lang="en-US" sz="1200" u="none" err="1"/>
              <a:t>ayuda</a:t>
            </a:r>
            <a:r>
              <a:rPr lang="en-US" sz="1200" u="none"/>
              <a:t> federal es del </a:t>
            </a:r>
            <a:r>
              <a:rPr lang="en-US" sz="1200" u="none" err="1"/>
              <a:t>departamento</a:t>
            </a:r>
            <a:r>
              <a:rPr lang="en-US" sz="1200" u="none"/>
              <a:t> de </a:t>
            </a:r>
            <a:r>
              <a:rPr lang="en-US" sz="1200" u="none" err="1"/>
              <a:t>educación</a:t>
            </a:r>
            <a:r>
              <a:rPr lang="en-US" sz="1200" u="none"/>
              <a:t> de </a:t>
            </a:r>
            <a:r>
              <a:rPr lang="en-US" sz="1200" u="none" err="1"/>
              <a:t>los</a:t>
            </a:r>
            <a:r>
              <a:rPr lang="en-US" sz="1200" u="none"/>
              <a:t> </a:t>
            </a:r>
            <a:r>
              <a:rPr lang="en-US" sz="1200" u="none" err="1"/>
              <a:t>Estados</a:t>
            </a:r>
            <a:r>
              <a:rPr lang="en-US" sz="1200" u="none"/>
              <a:t> Unidos y </a:t>
            </a:r>
            <a:r>
              <a:rPr lang="en-US" sz="1200" u="none" err="1"/>
              <a:t>puede</a:t>
            </a:r>
            <a:r>
              <a:rPr lang="en-US" sz="1200" u="none"/>
              <a:t> ser </a:t>
            </a:r>
            <a:r>
              <a:rPr lang="en-US" sz="1200" u="none" err="1"/>
              <a:t>usada</a:t>
            </a:r>
            <a:r>
              <a:rPr lang="en-US" sz="1200" u="none"/>
              <a:t> </a:t>
            </a:r>
            <a:r>
              <a:rPr lang="en-US" sz="1200" u="none" err="1"/>
              <a:t>en</a:t>
            </a:r>
            <a:r>
              <a:rPr lang="en-US" sz="1200" u="none"/>
              <a:t> </a:t>
            </a:r>
            <a:r>
              <a:rPr lang="en-US" sz="1200" u="none" err="1"/>
              <a:t>mayoría</a:t>
            </a:r>
            <a:r>
              <a:rPr lang="en-US" sz="1200" u="none"/>
              <a:t> de las </a:t>
            </a:r>
            <a:r>
              <a:rPr lang="en-US" sz="1200" u="none" err="1"/>
              <a:t>universidades</a:t>
            </a:r>
            <a:r>
              <a:rPr lang="en-US" sz="1200" u="none"/>
              <a:t> </a:t>
            </a:r>
            <a:r>
              <a:rPr lang="en-US" sz="1200" u="none" err="1"/>
              <a:t>en</a:t>
            </a:r>
            <a:r>
              <a:rPr lang="en-US" sz="1200" u="none"/>
              <a:t> </a:t>
            </a:r>
            <a:r>
              <a:rPr lang="en-US" sz="1200" u="none" err="1"/>
              <a:t>los</a:t>
            </a:r>
            <a:r>
              <a:rPr lang="en-US" sz="1200" u="none"/>
              <a:t> </a:t>
            </a:r>
            <a:r>
              <a:rPr lang="en-US" sz="1200" u="none" err="1"/>
              <a:t>Estados</a:t>
            </a:r>
            <a:r>
              <a:rPr lang="en-US" sz="1200" u="none"/>
              <a:t> Unidos. Este dinero </a:t>
            </a:r>
            <a:r>
              <a:rPr lang="en-US" sz="1200" u="none" err="1"/>
              <a:t>puede</a:t>
            </a:r>
            <a:r>
              <a:rPr lang="en-US" sz="1200" u="none"/>
              <a:t> ser </a:t>
            </a:r>
            <a:r>
              <a:rPr lang="en-US" sz="1200" u="none" err="1"/>
              <a:t>usado</a:t>
            </a:r>
            <a:r>
              <a:rPr lang="en-US" sz="1200" u="none"/>
              <a:t> </a:t>
            </a:r>
            <a:r>
              <a:rPr lang="en-US" sz="1200" u="none" err="1"/>
              <a:t>en</a:t>
            </a:r>
            <a:r>
              <a:rPr lang="en-US" sz="1200" u="none"/>
              <a:t> </a:t>
            </a:r>
            <a:r>
              <a:rPr lang="en-US" sz="1200" u="none" err="1"/>
              <a:t>cualquier</a:t>
            </a:r>
            <a:r>
              <a:rPr lang="en-US" sz="1200" u="none"/>
              <a:t> </a:t>
            </a:r>
            <a:r>
              <a:rPr lang="en-US" sz="1200" u="none" err="1"/>
              <a:t>escuela</a:t>
            </a:r>
            <a:r>
              <a:rPr lang="en-US" sz="1200" u="none"/>
              <a:t> de </a:t>
            </a:r>
            <a:r>
              <a:rPr lang="en-US" sz="1200" u="none" err="1"/>
              <a:t>cualquier</a:t>
            </a:r>
            <a:r>
              <a:rPr lang="en-US" sz="1200" u="none"/>
              <a:t> </a:t>
            </a:r>
            <a:r>
              <a:rPr lang="en-US" sz="1200" u="none" err="1"/>
              <a:t>estado</a:t>
            </a:r>
            <a:r>
              <a:rPr lang="en-US" sz="1200" u="none"/>
              <a:t>. La </a:t>
            </a:r>
            <a:r>
              <a:rPr lang="en-US" sz="1200" u="none" err="1"/>
              <a:t>ayuda</a:t>
            </a:r>
            <a:r>
              <a:rPr lang="en-US" sz="1200" u="none"/>
              <a:t> </a:t>
            </a:r>
            <a:r>
              <a:rPr lang="en-US" sz="1200" u="none" err="1"/>
              <a:t>estatal</a:t>
            </a:r>
            <a:r>
              <a:rPr lang="en-US" sz="1200" u="none"/>
              <a:t> del Estado de Washington es </a:t>
            </a:r>
            <a:r>
              <a:rPr lang="en-US" sz="1200" u="none" err="1"/>
              <a:t>ayuda</a:t>
            </a:r>
            <a:r>
              <a:rPr lang="en-US" sz="1200" u="none"/>
              <a:t> </a:t>
            </a:r>
            <a:r>
              <a:rPr lang="en-US" sz="1200" u="none" err="1"/>
              <a:t>financiera</a:t>
            </a:r>
            <a:r>
              <a:rPr lang="en-US" sz="1200" u="none"/>
              <a:t> para </a:t>
            </a:r>
            <a:r>
              <a:rPr lang="en-US" sz="1200" u="none" err="1"/>
              <a:t>residentes</a:t>
            </a:r>
            <a:r>
              <a:rPr lang="en-US" sz="1200" u="none"/>
              <a:t> del </a:t>
            </a:r>
            <a:r>
              <a:rPr lang="en-US" sz="1200" u="none" err="1"/>
              <a:t>estado</a:t>
            </a:r>
            <a:r>
              <a:rPr lang="en-US" sz="1200" u="none"/>
              <a:t>, para que </a:t>
            </a:r>
            <a:r>
              <a:rPr lang="en-US" sz="1200" u="none" err="1"/>
              <a:t>asistan</a:t>
            </a:r>
            <a:r>
              <a:rPr lang="en-US" sz="1200" u="none"/>
              <a:t> a </a:t>
            </a:r>
            <a:r>
              <a:rPr lang="en-US" sz="1200" u="none" err="1"/>
              <a:t>universidades</a:t>
            </a:r>
            <a:r>
              <a:rPr lang="en-US" sz="1200" u="none"/>
              <a:t> </a:t>
            </a:r>
            <a:r>
              <a:rPr lang="en-US" sz="1200" u="none" err="1"/>
              <a:t>en</a:t>
            </a:r>
            <a:r>
              <a:rPr lang="en-US" sz="1200" u="none"/>
              <a:t> Washington. No </a:t>
            </a:r>
            <a:r>
              <a:rPr lang="en-US" sz="1200" u="none" err="1"/>
              <a:t>necesariamente</a:t>
            </a:r>
            <a:r>
              <a:rPr lang="en-US" sz="1200" u="none"/>
              <a:t> </a:t>
            </a:r>
            <a:r>
              <a:rPr lang="en-US" sz="1200" u="none" err="1"/>
              <a:t>tiene</a:t>
            </a:r>
            <a:r>
              <a:rPr lang="en-US" sz="1200" u="none"/>
              <a:t> que ser </a:t>
            </a:r>
            <a:r>
              <a:rPr lang="en-US" sz="1200" u="none" err="1"/>
              <a:t>una</a:t>
            </a:r>
            <a:r>
              <a:rPr lang="en-US" sz="1200" u="none"/>
              <a:t> </a:t>
            </a:r>
            <a:r>
              <a:rPr lang="en-US" sz="1200" u="none" err="1"/>
              <a:t>universidad</a:t>
            </a:r>
            <a:r>
              <a:rPr lang="en-US" sz="1200" u="none"/>
              <a:t> </a:t>
            </a:r>
            <a:r>
              <a:rPr lang="en-US" sz="1200" u="none" err="1"/>
              <a:t>pública</a:t>
            </a:r>
            <a:r>
              <a:rPr lang="en-US" sz="1200" u="none"/>
              <a:t> , </a:t>
            </a:r>
            <a:r>
              <a:rPr lang="en-US" sz="1200" u="none" err="1"/>
              <a:t>pero</a:t>
            </a:r>
            <a:r>
              <a:rPr lang="en-US" sz="1200" u="none"/>
              <a:t> </a:t>
            </a:r>
            <a:r>
              <a:rPr lang="en-US" sz="1200" u="none" err="1"/>
              <a:t>tiene</a:t>
            </a:r>
            <a:r>
              <a:rPr lang="en-US" sz="1200" u="none"/>
              <a:t> que </a:t>
            </a:r>
            <a:r>
              <a:rPr lang="en-US" sz="1200" u="none" err="1"/>
              <a:t>aceptar</a:t>
            </a:r>
            <a:r>
              <a:rPr lang="en-US" sz="1200" u="none"/>
              <a:t> la </a:t>
            </a:r>
            <a:r>
              <a:rPr lang="en-US" sz="1200" u="none" err="1"/>
              <a:t>ayuda</a:t>
            </a:r>
            <a:r>
              <a:rPr lang="en-US" sz="1200" u="none"/>
              <a:t> </a:t>
            </a:r>
            <a:r>
              <a:rPr lang="en-US" sz="1200" u="none" err="1"/>
              <a:t>financiera</a:t>
            </a:r>
            <a:r>
              <a:rPr lang="en-US" sz="1200" u="none"/>
              <a:t> </a:t>
            </a:r>
            <a:r>
              <a:rPr lang="en-US" sz="1200" u="none" err="1"/>
              <a:t>en</a:t>
            </a:r>
            <a:r>
              <a:rPr lang="en-US" sz="1200" u="none"/>
              <a:t> </a:t>
            </a:r>
            <a:r>
              <a:rPr lang="en-US" sz="1200" u="none" err="1"/>
              <a:t>esa</a:t>
            </a:r>
            <a:r>
              <a:rPr lang="en-US" sz="1200" u="none"/>
              <a:t> </a:t>
            </a:r>
            <a:r>
              <a:rPr lang="en-US" sz="1200" u="none" err="1"/>
              <a:t>escuela</a:t>
            </a:r>
            <a:r>
              <a:rPr lang="en-US" sz="1200" u="none"/>
              <a:t>. </a:t>
            </a:r>
            <a:r>
              <a:rPr lang="en-US" sz="1200" u="none" err="1"/>
              <a:t>Actualmente</a:t>
            </a:r>
            <a:r>
              <a:rPr lang="en-US" sz="1200" u="none"/>
              <a:t> hay </a:t>
            </a:r>
            <a:r>
              <a:rPr lang="en-US" sz="1200" u="none" err="1"/>
              <a:t>más</a:t>
            </a:r>
            <a:r>
              <a:rPr lang="en-US" sz="1200" u="none"/>
              <a:t> de 60 </a:t>
            </a:r>
            <a:r>
              <a:rPr lang="en-US" sz="1200" u="none" err="1"/>
              <a:t>universidades</a:t>
            </a:r>
            <a:r>
              <a:rPr lang="en-US" sz="1200" u="none"/>
              <a:t> que </a:t>
            </a:r>
            <a:r>
              <a:rPr lang="en-US" sz="1200" u="none" err="1"/>
              <a:t>aceptan</a:t>
            </a:r>
            <a:r>
              <a:rPr lang="en-US" sz="1200" u="none"/>
              <a:t> la </a:t>
            </a:r>
            <a:r>
              <a:rPr lang="en-US" sz="1200" u="none" err="1"/>
              <a:t>ayuda</a:t>
            </a:r>
            <a:r>
              <a:rPr lang="en-US" sz="1200" u="none"/>
              <a:t> </a:t>
            </a:r>
            <a:r>
              <a:rPr lang="en-US" sz="1200" u="none" err="1"/>
              <a:t>estatal</a:t>
            </a:r>
            <a:r>
              <a:rPr lang="en-US" sz="1200" u="none"/>
              <a:t>. La </a:t>
            </a:r>
            <a:r>
              <a:rPr lang="en-US" sz="1200" u="none" err="1"/>
              <a:t>ayuda</a:t>
            </a:r>
            <a:r>
              <a:rPr lang="en-US" sz="1200" u="none"/>
              <a:t> </a:t>
            </a:r>
            <a:r>
              <a:rPr lang="en-US" sz="1200" u="none" err="1"/>
              <a:t>financiera</a:t>
            </a:r>
            <a:r>
              <a:rPr lang="en-US" sz="1200" u="none"/>
              <a:t> de un colegio o </a:t>
            </a:r>
            <a:r>
              <a:rPr lang="en-US" sz="1200" u="none" err="1"/>
              <a:t>universidad</a:t>
            </a:r>
            <a:r>
              <a:rPr lang="en-US" sz="1200" u="none"/>
              <a:t> es </a:t>
            </a:r>
            <a:r>
              <a:rPr lang="en-US" sz="1200" u="none" err="1"/>
              <a:t>especifica</a:t>
            </a:r>
            <a:r>
              <a:rPr lang="en-US" sz="1200" u="none"/>
              <a:t> a </a:t>
            </a:r>
            <a:r>
              <a:rPr lang="en-US" sz="1200" u="none" err="1"/>
              <a:t>cada</a:t>
            </a:r>
            <a:r>
              <a:rPr lang="en-US" sz="1200" u="none"/>
              <a:t> </a:t>
            </a:r>
            <a:r>
              <a:rPr lang="en-US" sz="1200" u="none" err="1"/>
              <a:t>institución</a:t>
            </a:r>
            <a:r>
              <a:rPr lang="en-US" sz="1200" u="none"/>
              <a:t>. </a:t>
            </a:r>
            <a:r>
              <a:rPr lang="en-US" sz="1200" u="none" err="1"/>
              <a:t>Cada</a:t>
            </a:r>
            <a:r>
              <a:rPr lang="en-US" sz="1200" u="none"/>
              <a:t> </a:t>
            </a:r>
            <a:r>
              <a:rPr lang="en-US" sz="1200" u="none" err="1"/>
              <a:t>universidad</a:t>
            </a:r>
            <a:r>
              <a:rPr lang="en-US" sz="1200" u="none"/>
              <a:t> o colegio </a:t>
            </a:r>
            <a:r>
              <a:rPr lang="en-US" sz="1200" u="none" err="1"/>
              <a:t>tendrá</a:t>
            </a:r>
            <a:r>
              <a:rPr lang="en-US" sz="1200" u="none"/>
              <a:t> sus </a:t>
            </a:r>
            <a:r>
              <a:rPr lang="en-US" sz="1200" u="none" err="1"/>
              <a:t>propias</a:t>
            </a:r>
            <a:r>
              <a:rPr lang="en-US" sz="1200" u="none"/>
              <a:t> </a:t>
            </a:r>
            <a:r>
              <a:rPr lang="en-US" sz="1200" u="none" err="1"/>
              <a:t>becas</a:t>
            </a:r>
            <a:r>
              <a:rPr lang="en-US" sz="1200" u="none"/>
              <a:t> que </a:t>
            </a:r>
            <a:r>
              <a:rPr lang="en-US" sz="1200" u="none" err="1"/>
              <a:t>pueden</a:t>
            </a:r>
            <a:r>
              <a:rPr lang="en-US" sz="1200" u="none"/>
              <a:t> </a:t>
            </a:r>
            <a:r>
              <a:rPr lang="en-US" sz="1200" u="none" err="1"/>
              <a:t>ofrecer</a:t>
            </a:r>
            <a:r>
              <a:rPr lang="en-US" sz="1200" u="none"/>
              <a:t> a </a:t>
            </a:r>
            <a:r>
              <a:rPr lang="en-US" sz="1200" u="none" err="1"/>
              <a:t>los</a:t>
            </a:r>
            <a:r>
              <a:rPr lang="en-US" sz="1200" u="none"/>
              <a:t> </a:t>
            </a:r>
            <a:r>
              <a:rPr lang="en-US" sz="1200" u="none" err="1"/>
              <a:t>estudiantes</a:t>
            </a:r>
            <a:r>
              <a:rPr lang="en-US" sz="1200" u="none"/>
              <a:t> que </a:t>
            </a:r>
            <a:r>
              <a:rPr lang="en-US" sz="1200" u="none" err="1"/>
              <a:t>asistan</a:t>
            </a:r>
            <a:r>
              <a:rPr lang="en-US" sz="1200" u="none"/>
              <a:t> a </a:t>
            </a:r>
            <a:r>
              <a:rPr lang="en-US" sz="1200" u="none" err="1"/>
              <a:t>su</a:t>
            </a:r>
            <a:r>
              <a:rPr lang="en-US" sz="1200" u="none"/>
              <a:t> </a:t>
            </a:r>
            <a:r>
              <a:rPr lang="en-US" sz="1200" u="none" err="1"/>
              <a:t>escuela</a:t>
            </a:r>
            <a:r>
              <a:rPr lang="en-US" sz="1200" u="none"/>
              <a:t>. </a:t>
            </a:r>
            <a:r>
              <a:rPr lang="en-US" sz="1200" u="none" err="1"/>
              <a:t>Organizaciones</a:t>
            </a:r>
            <a:r>
              <a:rPr lang="en-US" sz="1200" u="none"/>
              <a:t> </a:t>
            </a:r>
            <a:r>
              <a:rPr lang="en-US" sz="1200" u="none" err="1"/>
              <a:t>suelen</a:t>
            </a:r>
            <a:r>
              <a:rPr lang="en-US" sz="1200" u="none"/>
              <a:t> </a:t>
            </a:r>
            <a:r>
              <a:rPr lang="en-US" sz="1200" u="none" err="1"/>
              <a:t>ofrecer</a:t>
            </a:r>
            <a:r>
              <a:rPr lang="en-US" sz="1200" u="none"/>
              <a:t> </a:t>
            </a:r>
            <a:r>
              <a:rPr lang="en-US" sz="1200" u="none" err="1"/>
              <a:t>becas</a:t>
            </a:r>
            <a:r>
              <a:rPr lang="en-US" sz="1200" u="none"/>
              <a:t> de </a:t>
            </a:r>
            <a:r>
              <a:rPr lang="en-US" sz="1200" u="none" err="1"/>
              <a:t>una</a:t>
            </a:r>
            <a:r>
              <a:rPr lang="en-US" sz="1200" u="none"/>
              <a:t> </a:t>
            </a:r>
            <a:r>
              <a:rPr lang="en-US" sz="1200" u="none" err="1"/>
              <a:t>organización</a:t>
            </a:r>
            <a:r>
              <a:rPr lang="en-US" sz="1200" u="none"/>
              <a:t> </a:t>
            </a:r>
            <a:r>
              <a:rPr lang="en-US" sz="1200" u="none" err="1"/>
              <a:t>específica</a:t>
            </a:r>
            <a:r>
              <a:rPr lang="en-US" sz="1200" u="none"/>
              <a:t> o </a:t>
            </a:r>
            <a:r>
              <a:rPr lang="en-US" sz="1200" u="none" err="1"/>
              <a:t>préstamos</a:t>
            </a:r>
            <a:r>
              <a:rPr lang="en-US" sz="1200" u="none"/>
              <a:t> privados de </a:t>
            </a:r>
            <a:r>
              <a:rPr lang="en-US" sz="1200" u="none" err="1"/>
              <a:t>algún</a:t>
            </a:r>
            <a:r>
              <a:rPr lang="en-US" sz="1200" u="none"/>
              <a:t> banco. </a:t>
            </a:r>
            <a:r>
              <a:rPr lang="en-US" sz="1200" u="none" err="1"/>
              <a:t>Hablaremos</a:t>
            </a:r>
            <a:r>
              <a:rPr lang="en-US" sz="1200" u="none"/>
              <a:t> mas de las </a:t>
            </a:r>
            <a:r>
              <a:rPr lang="en-US" sz="1200" u="none" err="1"/>
              <a:t>aplicaciones</a:t>
            </a:r>
            <a:r>
              <a:rPr lang="en-US" sz="1200" u="none"/>
              <a:t> para </a:t>
            </a:r>
            <a:r>
              <a:rPr lang="en-US" sz="1200" u="none" err="1"/>
              <a:t>estas</a:t>
            </a:r>
            <a:r>
              <a:rPr lang="en-US" sz="1200" u="none"/>
              <a:t> </a:t>
            </a:r>
            <a:r>
              <a:rPr lang="en-US" sz="1200" u="none" err="1"/>
              <a:t>formas</a:t>
            </a:r>
            <a:r>
              <a:rPr lang="en-US" sz="1200" u="none"/>
              <a:t> de </a:t>
            </a:r>
            <a:r>
              <a:rPr lang="en-US" sz="1200" u="none" err="1"/>
              <a:t>ayudas</a:t>
            </a:r>
            <a:r>
              <a:rPr lang="en-US" sz="1200" u="none"/>
              <a:t> mas </a:t>
            </a:r>
            <a:r>
              <a:rPr lang="en-US" sz="1200" u="none" err="1"/>
              <a:t>adelante</a:t>
            </a:r>
            <a:r>
              <a:rPr lang="en-US" sz="1200" u="none"/>
              <a:t>. </a:t>
            </a:r>
          </a:p>
          <a:p>
            <a:endParaRPr lang="en-US" sz="1200" u="none"/>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t>Federal- </a:t>
            </a:r>
            <a:r>
              <a:rPr lang="en-US" sz="1200" u="sng">
                <a:latin typeface="+mj-lt"/>
              </a:rPr>
              <a:t>Typically, can be used at most schools in most sta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t>State- </a:t>
            </a:r>
            <a:r>
              <a:rPr lang="en-US" sz="1200" u="sng">
                <a:latin typeface="+mj-lt"/>
              </a:rPr>
              <a:t>Typically for residents to attend most colleges in the state.</a:t>
            </a:r>
            <a:endParaRPr lang="en-US" u="sng"/>
          </a:p>
          <a:p>
            <a:r>
              <a:rPr lang="en-US" u="sng"/>
              <a:t>Colleg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mj-lt"/>
              </a:rPr>
              <a:t>Organizations-Offered by non-profits, business, churches, etc.</a:t>
            </a:r>
          </a:p>
          <a:p>
            <a:endParaRPr lang="en-US"/>
          </a:p>
          <a:p>
            <a:r>
              <a:rPr lang="en-US"/>
              <a:t>Financial aid can come from several sources: Federal: This is from the US Department of Education and can be used at most colleges in the US. They have to be able to receive financial aid. Students can take to another state. State: For example, Washington state financial aid is for residents to attend colleges in WA. They do not necessarily have to be public colleges, but they have to be able to receive state financial aid. There are currently over 60. College: Every college will have their own scholarships, </a:t>
            </a:r>
            <a:r>
              <a:rPr lang="en-US" err="1"/>
              <a:t>etc</a:t>
            </a:r>
            <a:r>
              <a:rPr lang="en-US"/>
              <a:t> that they offer to students who are going to their school. Organizations: These tend to be scholarships (organizations) or private loans (banks). We will talk about applications for these specific forms of aid later. </a:t>
            </a:r>
          </a:p>
        </p:txBody>
      </p:sp>
      <p:sp>
        <p:nvSpPr>
          <p:cNvPr id="4" name="Slide Number Placeholder 3"/>
          <p:cNvSpPr>
            <a:spLocks noGrp="1"/>
          </p:cNvSpPr>
          <p:nvPr>
            <p:ph type="sldNum" sz="quarter" idx="10"/>
          </p:nvPr>
        </p:nvSpPr>
        <p:spPr/>
        <p:txBody>
          <a:bodyPr/>
          <a:lstStyle/>
          <a:p>
            <a:fld id="{D0B21C6A-5A06-4DD3-9905-90CB9635CE2D}" type="slidenum">
              <a:rPr lang="en-US" smtClean="0"/>
              <a:t>12</a:t>
            </a:fld>
            <a:endParaRPr lang="en-US"/>
          </a:p>
        </p:txBody>
      </p:sp>
    </p:spTree>
    <p:extLst>
      <p:ext uri="{BB962C8B-B14F-4D97-AF65-F5344CB8AC3E}">
        <p14:creationId xmlns:p14="http://schemas.microsoft.com/office/powerpoint/2010/main" val="8834762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Hay varios tipos de ayuda financiera federal. Los estudiantes deben ser ciudadanos estadounidenses o residentes legales (por ejemplo, residentes permanentes con una tarjeta verde) para presentar una solicitud. </a:t>
            </a:r>
            <a:r>
              <a:rPr lang="es-ES" err="1"/>
              <a:t>Pell</a:t>
            </a:r>
            <a:r>
              <a:rPr lang="es-ES"/>
              <a:t> Grant o subvención </a:t>
            </a:r>
            <a:r>
              <a:rPr lang="es-ES" err="1"/>
              <a:t>pell</a:t>
            </a:r>
            <a:r>
              <a:rPr lang="es-ES"/>
              <a:t> es la que provee el mayor apoyo para estudiantes dependiendo en sus ingresos familiares. Habido algunos cambios a lo largo de los años, así que asegúrese de investigar los requisitos actuales de la subvención </a:t>
            </a:r>
            <a:r>
              <a:rPr lang="es-ES" err="1"/>
              <a:t>Pell</a:t>
            </a:r>
            <a:r>
              <a:rPr lang="es-ES"/>
              <a:t>, como el uso de los montos máximos de las becas durante el verano. </a:t>
            </a:r>
          </a:p>
          <a:p>
            <a:endParaRPr lang="es-ES"/>
          </a:p>
          <a:p>
            <a:r>
              <a:rPr lang="es-ES"/>
              <a:t>Trabajo y estudio: Los estudiantes pueden trabajar en el campus y su salario lo paga el empleador del campus del Departamento de Educación al estudiante. No todos los trabajos en el campus requieren que un estudiante sea parte del programa de estudio y trabajo.</a:t>
            </a:r>
          </a:p>
          <a:p>
            <a:endParaRPr lang="es-ES"/>
          </a:p>
          <a:p>
            <a:r>
              <a:rPr lang="es-ES"/>
              <a:t>Préstamos: Ambos están a nombre del estudiante. La diferencia es que con los préstamos para estudiantes sin subsidio, el estudiante finalmente pagará los intereses acumulados una vez que se gradúe y/o deje la universidad. Préstamos estudiantiles subsidiados: El gobierno paga o subsidia los intereses. </a:t>
            </a:r>
          </a:p>
          <a:p>
            <a:endParaRPr lang="es-ES"/>
          </a:p>
          <a:p>
            <a:r>
              <a:rPr lang="es-ES"/>
              <a:t>Préstamos para padres: Los tomarían los padres para pagar los gastos del estudiante. Hay requisitos adicionales, como una verificación de crédito. No hay límite en el monto para este préstamo. Si se les ofrece alguno o todos los préstamos del gobierno, los estudiantes/familias pueden aceptar uno parcialmente, o todo lo que quieran utilizar, pero no están forzados aceptar ninguno. También hay préstamos privados de bancos, pero generalmente tienen tasas de interés más altas y opciones de pago más limitadas que los préstamos federales. Los estudiantes solicitan estos programas utilizando la Solicitud Gratuita de Ayuda Federal para Estudiantes (FAFSA). Los estudiantes que no son elegibles para solicitar estos programas debido a su estatus migratorio no serían elegibles para estos programas; por ejemplo, los préstamos federales para estudiantes.</a:t>
            </a:r>
          </a:p>
          <a:p>
            <a:endParaRPr lang="es-ES" sz="1200" u="sng"/>
          </a:p>
          <a:p>
            <a:r>
              <a:rPr lang="en-US" sz="1200" u="sng"/>
              <a:t>Examples of Federal Financial Aid Programs</a:t>
            </a:r>
          </a:p>
          <a:p>
            <a:r>
              <a:rPr lang="en-US" sz="1200" u="sng"/>
              <a:t>Pell Grant</a:t>
            </a:r>
          </a:p>
          <a:p>
            <a:r>
              <a:rPr lang="en-US" sz="1200" u="sng"/>
              <a:t>Federal Work Study</a:t>
            </a:r>
          </a:p>
          <a:p>
            <a:r>
              <a:rPr lang="en-US" u="sng"/>
              <a:t>Unsubsidized/Subsidized student loans</a:t>
            </a:r>
          </a:p>
          <a:p>
            <a:r>
              <a:rPr lang="en-US" u="sng"/>
              <a:t>Parent  loans</a:t>
            </a:r>
          </a:p>
          <a:p>
            <a:endParaRPr lang="en-US" u="sng"/>
          </a:p>
          <a:p>
            <a:r>
              <a:rPr lang="en-US"/>
              <a:t>There are several types of federal financial aid. Students need to be U.S. citizens or eligible non-citizens (i.e. permanent residents with a Green Card as an example) to apply. Pell Grant: The largest income-based grant. You may be familiar with this grant as it is a long-standing program. There have been some changes over the years, so make sure you investigate current Pell Grant requirements such as maximum award amounts use during the summer. Work-study: Students can work on campus and their salary is paid from the Dept of Education on-campus employer—&gt;student. Not all on campus jobs require a student to be part of the work-study program. Loans: Both these are in the student’s name. The difference is that with Unsubsidized student loans the student will ultimately pay the interest accrued once they graduate and/or leave college. Subsidized student loans – the government pays, or subsidizes the interest. Parent loans: Would be taken out by the parent to pay for the student’s expenses. There are additional requirements, such as a credit check. There is not limit on the loan amount for parent loans. If offered any/all of these loans from the government, students/families can accept none, partial, or all that they want to utilize. There are also private loans from banks but they typically have higher interest rates and more limited repayment options that federal loans. Students apply for these programs using the Free Application for Federal Student Aid (FAFSA). Students who are not eligible to apply for these programs due to immigration status would not be eligible for these programs, such as federal student loans. </a:t>
            </a:r>
          </a:p>
        </p:txBody>
      </p:sp>
      <p:sp>
        <p:nvSpPr>
          <p:cNvPr id="4" name="Slide Number Placeholder 3"/>
          <p:cNvSpPr>
            <a:spLocks noGrp="1"/>
          </p:cNvSpPr>
          <p:nvPr>
            <p:ph type="sldNum" sz="quarter" idx="10"/>
          </p:nvPr>
        </p:nvSpPr>
        <p:spPr/>
        <p:txBody>
          <a:bodyPr/>
          <a:lstStyle/>
          <a:p>
            <a:fld id="{D0B21C6A-5A06-4DD3-9905-90CB9635CE2D}" type="slidenum">
              <a:rPr lang="en-US" smtClean="0"/>
              <a:t>13</a:t>
            </a:fld>
            <a:endParaRPr lang="en-US"/>
          </a:p>
        </p:txBody>
      </p:sp>
    </p:spTree>
    <p:extLst>
      <p:ext uri="{BB962C8B-B14F-4D97-AF65-F5344CB8AC3E}">
        <p14:creationId xmlns:p14="http://schemas.microsoft.com/office/powerpoint/2010/main" val="366469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Estos programas estatales son ejemplos de ayuda financiera para los residentes de WA, que son elegibles para usar en universidades en WA. Es posible que usted vea las </a:t>
            </a:r>
            <a:r>
              <a:rPr lang="es-ES" err="1"/>
              <a:t>univsersidas</a:t>
            </a:r>
            <a:r>
              <a:rPr lang="es-ES"/>
              <a:t>/colegios denominados como Washington </a:t>
            </a:r>
            <a:r>
              <a:rPr lang="es-ES" err="1"/>
              <a:t>Opportunity</a:t>
            </a:r>
            <a:r>
              <a:rPr lang="es-ES"/>
              <a:t> </a:t>
            </a:r>
            <a:r>
              <a:rPr lang="es-ES" err="1"/>
              <a:t>Pathways</a:t>
            </a:r>
            <a:r>
              <a:rPr lang="es-ES"/>
              <a:t>. </a:t>
            </a:r>
          </a:p>
          <a:p>
            <a:endParaRPr lang="es-ES"/>
          </a:p>
          <a:p>
            <a:r>
              <a:rPr lang="es-ES"/>
              <a:t>Washington </a:t>
            </a:r>
            <a:r>
              <a:rPr lang="es-ES" err="1"/>
              <a:t>College</a:t>
            </a:r>
            <a:r>
              <a:rPr lang="es-ES"/>
              <a:t> Grant (anteriormente </a:t>
            </a:r>
            <a:r>
              <a:rPr lang="es-ES" err="1"/>
              <a:t>State</a:t>
            </a:r>
            <a:r>
              <a:rPr lang="es-ES"/>
              <a:t> </a:t>
            </a:r>
            <a:r>
              <a:rPr lang="es-ES" err="1"/>
              <a:t>Need</a:t>
            </a:r>
            <a:r>
              <a:rPr lang="es-ES"/>
              <a:t> Grant) es la mayor subvención basada en los ingresos. La cantidad otorgada depende del tipo de escuela a la que el estudiante asistirá.</a:t>
            </a:r>
          </a:p>
          <a:p>
            <a:endParaRPr lang="es-ES"/>
          </a:p>
          <a:p>
            <a:r>
              <a:rPr lang="es-ES"/>
              <a:t>La beca </a:t>
            </a:r>
            <a:r>
              <a:rPr lang="es-ES" err="1"/>
              <a:t>College</a:t>
            </a:r>
            <a:r>
              <a:rPr lang="es-ES"/>
              <a:t> </a:t>
            </a:r>
            <a:r>
              <a:rPr lang="es-ES" err="1"/>
              <a:t>Bound</a:t>
            </a:r>
            <a:r>
              <a:rPr lang="es-ES"/>
              <a:t>: Este es un compromiso anticipado de ayuda financiera estatal para cubrir ciertos costos universitarios. Los estudiantes deben haberse inscrito en la secundaria o </a:t>
            </a:r>
            <a:r>
              <a:rPr lang="es-ES" err="1"/>
              <a:t>middle</a:t>
            </a:r>
            <a:r>
              <a:rPr lang="es-ES"/>
              <a:t> </a:t>
            </a:r>
            <a:r>
              <a:rPr lang="es-ES" err="1"/>
              <a:t>school</a:t>
            </a:r>
            <a:r>
              <a:rPr lang="es-ES"/>
              <a:t>. Hablaremos mas sobre esta beca. </a:t>
            </a:r>
          </a:p>
          <a:p>
            <a:endParaRPr lang="es-ES"/>
          </a:p>
          <a:p>
            <a:r>
              <a:rPr lang="es-ES"/>
              <a:t>Trabajo y Estudio Estatal: Similar al programa federal de Trabajo y Estudio, pero los fondos provienen del estado de Washington y no del gobierno federal. </a:t>
            </a:r>
          </a:p>
          <a:p>
            <a:endParaRPr lang="es-ES"/>
          </a:p>
          <a:p>
            <a:r>
              <a:rPr lang="es-ES"/>
              <a:t>Pasaporte a Carreras es un programa que brinda recursos adicionales tanto para jóvenes de crianza temporal como para jóvenes sin hogar no acompañados (https://www.wsac.wa.gov/sites/default/files/Passport.Student.FAQs.pdf).</a:t>
            </a:r>
          </a:p>
          <a:p>
            <a:r>
              <a:rPr lang="es-ES"/>
              <a:t> </a:t>
            </a:r>
          </a:p>
          <a:p>
            <a:r>
              <a:rPr lang="es-ES"/>
              <a:t>Beca de Oportunidad: Es para asistir a un colegio comunitario o técnico de 2 años. Los estudiantes que pueden completar la FAFSA (ciudadanos estadounidenses y residentes permanentes) también solicitan programas de ayuda estatal cuando completan la FAFSA. </a:t>
            </a:r>
          </a:p>
          <a:p>
            <a:endParaRPr lang="es-ES"/>
          </a:p>
          <a:p>
            <a:r>
              <a:rPr lang="es-ES"/>
              <a:t>Los estudiantes indocumentados que cumplan con los requisitos del programa y de la residencia estatal pueden presentar una solicitud utilizando la Solicitud de Ayuda Financiera Estatal de Washington (WASFA). </a:t>
            </a:r>
            <a:endParaRPr lang="en-US" sz="1200" u="sng"/>
          </a:p>
          <a:p>
            <a:endParaRPr lang="en-US" sz="1200" u="sng"/>
          </a:p>
          <a:p>
            <a:r>
              <a:rPr lang="en-US" sz="1200" u="sng"/>
              <a:t>Examples of State Financial Ai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Washington College Grant (formerly the State Need Gra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College Bound Scholarshi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State Work-Stud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Passport to Care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Opportunity Grant</a:t>
            </a:r>
          </a:p>
          <a:p>
            <a:r>
              <a:rPr lang="en-US" sz="1200" b="0" i="0" kern="1200">
                <a:solidFill>
                  <a:schemeClr val="tx1"/>
                </a:solidFill>
                <a:effectLst/>
                <a:latin typeface="+mn-lt"/>
                <a:ea typeface="+mn-ea"/>
                <a:cs typeface="+mn-cs"/>
              </a:rPr>
              <a:t>Learn more about Washington’s state financial aid programs, collectively known as </a:t>
            </a:r>
            <a:r>
              <a:rPr lang="en-US" sz="1200" b="0" i="1" kern="1200">
                <a:solidFill>
                  <a:schemeClr val="tx1"/>
                </a:solidFill>
                <a:effectLst/>
                <a:latin typeface="+mn-lt"/>
                <a:ea typeface="+mn-ea"/>
                <a:cs typeface="+mn-cs"/>
              </a:rPr>
              <a:t>opportunity pathways</a:t>
            </a:r>
            <a:r>
              <a:rPr lang="en-US" sz="1200" b="0" i="0" kern="1200">
                <a:solidFill>
                  <a:schemeClr val="tx1"/>
                </a:solidFill>
                <a:effectLst/>
                <a:latin typeface="+mn-lt"/>
                <a:ea typeface="+mn-ea"/>
                <a:cs typeface="+mn-cs"/>
              </a:rPr>
              <a:t> go to </a:t>
            </a:r>
            <a:r>
              <a:rPr lang="en-US" baseline="0"/>
              <a:t>https://wsac.wa.gov/sfa-overview </a:t>
            </a:r>
          </a:p>
          <a:p>
            <a:endParaRPr lang="en-US" baseline="0"/>
          </a:p>
          <a:p>
            <a:r>
              <a:rPr lang="en-US"/>
              <a:t>These are examples of state financial aid programs that WA residents who are eligible can use in WA at eligible colleges – you may see them referred to as Washington Opportunity Pathways. Washington College Grant (formerly the State Need Grant) largest, income based grant. The amount depends on what type of school (out of the over 65) you attend. College Bound Scholarship: This is an early commitment of state financial aid to cover certain college costs. Students must have signed up in middle school. We’ll talk more later. State Work-Study: Similar to the federal program but the funding comes from Washington State versus the federal government. Passport to Careers: program that provides additional resources for both former foster youth and unaccompanied homeless youth (https://www.wsac.wa.gov/sites/default/files/Passport.Student.FAQs.pdf) Opportunity Grant: to attend a 2 year community or technical college 5 Students who can complete the FAFSA (U.S. citizens and permanent residents) are also applying for state aid programs when the complete the FAFSA. Undocumented students who meet program and state residency requirements can apply using the Washington Application for State Financial Aid (WASFA). </a:t>
            </a:r>
          </a:p>
        </p:txBody>
      </p:sp>
      <p:sp>
        <p:nvSpPr>
          <p:cNvPr id="4" name="Slide Number Placeholder 3"/>
          <p:cNvSpPr>
            <a:spLocks noGrp="1"/>
          </p:cNvSpPr>
          <p:nvPr>
            <p:ph type="sldNum" sz="quarter" idx="10"/>
          </p:nvPr>
        </p:nvSpPr>
        <p:spPr/>
        <p:txBody>
          <a:bodyPr/>
          <a:lstStyle/>
          <a:p>
            <a:fld id="{D0B21C6A-5A06-4DD3-9905-90CB9635CE2D}" type="slidenum">
              <a:rPr lang="en-US" smtClean="0"/>
              <a:t>14</a:t>
            </a:fld>
            <a:endParaRPr lang="en-US"/>
          </a:p>
        </p:txBody>
      </p:sp>
    </p:spTree>
    <p:extLst>
      <p:ext uri="{BB962C8B-B14F-4D97-AF65-F5344CB8AC3E}">
        <p14:creationId xmlns:p14="http://schemas.microsoft.com/office/powerpoint/2010/main" val="36524125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s-ES"/>
              <a:t>Paso 1: Un beneficio nuevo con la ley ESSB 5321, es que todos los estudiantes elegibles de escuelas públicas  para comidas gratuitas y de precio reducido en los grados 7.°, ​​8.° o recién elegibles en 9.° grado son inscritos automáticamente en la beca College Bound. Los jóvenes en cuidado de crianza estatal (Foster care </a:t>
            </a:r>
            <a:r>
              <a:rPr lang="es-ES" err="1"/>
              <a:t>youth</a:t>
            </a:r>
            <a:r>
              <a:rPr lang="es-ES"/>
              <a:t>) son inscritos automáticamente durante la preparatoria a esta beca. ¡Esto es genial! Más estudiantes tendrán acceso a la oportunidad de la beca, y aquellos que trabajan con estudiantes pueden concentrarse en la preparación universitaria/profesional en lugar de perseguir formularios. El equipo de la beca College Bound está trabajando en las actualizaciones del WAC (las leyes especificas a el Estado de WA).</a:t>
            </a:r>
          </a:p>
          <a:p>
            <a:pPr lvl="0"/>
            <a:r>
              <a:rPr lang="es-ES" b="1"/>
              <a:t>Si preguntan</a:t>
            </a:r>
            <a:r>
              <a:rPr lang="es-ES"/>
              <a:t>: Estudiantes de escuela privada y educación en el hogar: comuníquese con el equipo de la beca College Bound.</a:t>
            </a:r>
          </a:p>
          <a:p>
            <a:pPr lvl="0"/>
            <a:endParaRPr lang="es-ES" sz="1200" b="0" u="sng"/>
          </a:p>
          <a:p>
            <a:pPr marL="0" marR="0" lvl="0" indent="0" algn="l" defTabSz="914400" rtl="0" eaLnBrk="1" fontAlgn="auto" latinLnBrk="0" hangingPunct="1">
              <a:lnSpc>
                <a:spcPct val="100000"/>
              </a:lnSpc>
              <a:spcBef>
                <a:spcPts val="0"/>
              </a:spcBef>
              <a:spcAft>
                <a:spcPts val="0"/>
              </a:spcAft>
              <a:buClrTx/>
              <a:buSzTx/>
              <a:buFontTx/>
              <a:buNone/>
              <a:tabLst/>
              <a:defRPr/>
            </a:pPr>
            <a:r>
              <a:rPr lang="es-ES"/>
              <a:t>Paso 2: - Cumplir con los compromisos de College Bound o College Bound </a:t>
            </a:r>
            <a:r>
              <a:rPr lang="es-ES" err="1"/>
              <a:t>Pledge</a:t>
            </a:r>
            <a:r>
              <a:rPr lang="es-ES"/>
              <a:t> en la escuela secundaria, (graduado de WA HS o programa de educación en el hogar y sin delitos graves.) Si va atender a una universidad de 4 años, necesita graduarse con un GPA de 2.0 o mejor. </a:t>
            </a:r>
            <a:endParaRPr lang="en-US">
              <a:latin typeface="Tw Cen MT" panose="020B0602020104020603" pitchFamily="34" charset="0"/>
            </a:endParaRPr>
          </a:p>
          <a:p>
            <a:pPr lvl="0"/>
            <a:r>
              <a:rPr lang="es-ES"/>
              <a:t> </a:t>
            </a:r>
          </a:p>
          <a:p>
            <a:pPr lvl="0"/>
            <a:r>
              <a:rPr lang="es-ES" b="1"/>
              <a:t>nota adicional si preguntan: </a:t>
            </a:r>
            <a:r>
              <a:rPr lang="es-ES" b="0"/>
              <a:t>¿C</a:t>
            </a:r>
            <a:r>
              <a:rPr lang="es-ES"/>
              <a:t>ómo sabemos si tiene un delito grave? WSAC tiene un proceso de revisión que analiza las búsquedas de registros públicos y los registros de la Patrulla del Estado de Washington para confirmar la elegibilidad de un estudiante.</a:t>
            </a:r>
          </a:p>
          <a:p>
            <a:pPr lvl="0"/>
            <a:r>
              <a:rPr lang="es-ES"/>
              <a:t> - Cumplir con los requisitos de ingresos; verificado por la universidad usando la información del FAFSA o WASFA</a:t>
            </a:r>
          </a:p>
          <a:p>
            <a:pPr lvl="0"/>
            <a:r>
              <a:rPr lang="es-ES"/>
              <a:t> - Ser aceptado y asistir a una universidad elegible dentro de un año de graduarse de la escuela secundaria (es decir, tienen 5 años después de graduarse de la escuela secundaria para usar 4 años de fondos, hasta una licenciatura; la beca no se puede usar para la escuela de posgrado)</a:t>
            </a:r>
            <a:endParaRPr lang="es-ES" sz="1200" b="0" u="sng"/>
          </a:p>
          <a:p>
            <a:pPr lvl="0"/>
            <a:endParaRPr lang="en-US" sz="1200" b="0" u="sng"/>
          </a:p>
          <a:p>
            <a:pPr lvl="0"/>
            <a:r>
              <a:rPr lang="en-US" sz="1200" b="0" u="sng"/>
              <a:t>College Bound Scholarship</a:t>
            </a:r>
            <a:br>
              <a:rPr lang="en-US" sz="1200" b="0" u="sng"/>
            </a:br>
            <a:r>
              <a:rPr lang="en-US" sz="1200" b="0" u="sng"/>
              <a:t>Eligibility and Auto-Enrollment: A Two-Step Process </a:t>
            </a:r>
          </a:p>
          <a:p>
            <a:pPr lvl="0"/>
            <a:r>
              <a:rPr lang="en-US" sz="4800" b="0" i="1" u="sng">
                <a:latin typeface="Tw Cen MT" panose="020B0602020104020603" pitchFamily="34" charset="0"/>
              </a:rPr>
              <a:t>Step</a:t>
            </a:r>
            <a:r>
              <a:rPr lang="en-US" sz="6000" b="0" u="sng"/>
              <a:t> </a:t>
            </a:r>
            <a:r>
              <a:rPr lang="en-US" sz="4800" b="0" i="1" u="sng">
                <a:latin typeface="Tw Cen MT" panose="020B0602020104020603" pitchFamily="34" charset="0"/>
              </a:rPr>
              <a:t>One</a:t>
            </a:r>
          </a:p>
          <a:p>
            <a:pPr lvl="1"/>
            <a:r>
              <a:rPr lang="en-US" sz="2400" b="0" u="sng">
                <a:solidFill>
                  <a:srgbClr val="02060A"/>
                </a:solidFill>
                <a:latin typeface="Tw Cen MT" panose="020B0602020104020603" pitchFamily="34" charset="0"/>
              </a:rPr>
              <a:t>Auto-enrollment for eligible public-school students. </a:t>
            </a:r>
          </a:p>
          <a:p>
            <a:pPr lvl="1"/>
            <a:r>
              <a:rPr lang="en-US" sz="2400" b="0" u="sng">
                <a:solidFill>
                  <a:srgbClr val="02060A"/>
                </a:solidFill>
                <a:latin typeface="Tw Cen MT" panose="020B0602020104020603" pitchFamily="34" charset="0"/>
              </a:rPr>
              <a:t>Eligible for FRPL in 7</a:t>
            </a:r>
            <a:r>
              <a:rPr lang="en-US" sz="2400" b="0" u="sng" baseline="0">
                <a:solidFill>
                  <a:srgbClr val="02060A"/>
                </a:solidFill>
                <a:latin typeface="Tw Cen MT" panose="020B0602020104020603" pitchFamily="34" charset="0"/>
              </a:rPr>
              <a:t>th</a:t>
            </a:r>
            <a:r>
              <a:rPr lang="en-US" sz="2400" b="0" u="sng">
                <a:solidFill>
                  <a:srgbClr val="02060A"/>
                </a:solidFill>
                <a:latin typeface="Tw Cen MT" panose="020B0602020104020603" pitchFamily="34" charset="0"/>
              </a:rPr>
              <a:t>, 8</a:t>
            </a:r>
            <a:r>
              <a:rPr lang="en-US" sz="2400" b="0" u="sng" baseline="0">
                <a:solidFill>
                  <a:srgbClr val="02060A"/>
                </a:solidFill>
                <a:latin typeface="Tw Cen MT" panose="020B0602020104020603" pitchFamily="34" charset="0"/>
              </a:rPr>
              <a:t>th</a:t>
            </a:r>
            <a:r>
              <a:rPr lang="en-US" sz="2400" b="0" u="sng">
                <a:solidFill>
                  <a:srgbClr val="02060A"/>
                </a:solidFill>
                <a:latin typeface="Tw Cen MT" panose="020B0602020104020603" pitchFamily="34" charset="0"/>
              </a:rPr>
              <a:t>, or newly eligible in 9</a:t>
            </a:r>
            <a:r>
              <a:rPr lang="en-US" sz="2400" b="0" u="sng" baseline="0">
                <a:solidFill>
                  <a:srgbClr val="02060A"/>
                </a:solidFill>
                <a:latin typeface="Tw Cen MT" panose="020B0602020104020603" pitchFamily="34" charset="0"/>
              </a:rPr>
              <a:t>th</a:t>
            </a:r>
            <a:r>
              <a:rPr lang="en-US" sz="2400" b="0" u="sng">
                <a:solidFill>
                  <a:srgbClr val="02060A"/>
                </a:solidFill>
                <a:latin typeface="Tw Cen MT" panose="020B0602020104020603" pitchFamily="34" charset="0"/>
              </a:rPr>
              <a:t> grade.  </a:t>
            </a:r>
          </a:p>
          <a:p>
            <a:pPr lvl="1"/>
            <a:r>
              <a:rPr lang="en-US" sz="2400" b="0" u="sng">
                <a:solidFill>
                  <a:srgbClr val="02060A"/>
                </a:solidFill>
                <a:latin typeface="Tw Cen MT" panose="020B0602020104020603" pitchFamily="34" charset="0"/>
              </a:rPr>
              <a:t>Foster Youth are auto-enrolled through HS graduation.</a:t>
            </a:r>
          </a:p>
          <a:p>
            <a:pPr lvl="0"/>
            <a:r>
              <a:rPr lang="en-US" sz="4800" b="0" i="1" u="sng">
                <a:latin typeface="Tw Cen MT" panose="020B0602020104020603" pitchFamily="34" charset="0"/>
              </a:rPr>
              <a:t>Step Two </a:t>
            </a:r>
            <a:endParaRPr lang="en-US" sz="4800" b="0" u="sng">
              <a:latin typeface="Tw Cen MT" panose="020B0602020104020603" pitchFamily="34" charset="0"/>
            </a:endParaRPr>
          </a:p>
          <a:p>
            <a:pPr lvl="1"/>
            <a:r>
              <a:rPr lang="en-US" sz="2400" b="0" u="sng">
                <a:solidFill>
                  <a:srgbClr val="02060A"/>
                </a:solidFill>
                <a:latin typeface="Tw Cen MT" panose="020B0602020104020603" pitchFamily="34" charset="0"/>
              </a:rPr>
              <a:t>Fulfill the College Bound Pledge.</a:t>
            </a:r>
          </a:p>
          <a:p>
            <a:pPr lvl="1"/>
            <a:r>
              <a:rPr lang="en-US" sz="2400" b="0" u="sng">
                <a:solidFill>
                  <a:srgbClr val="02060A"/>
                </a:solidFill>
                <a:latin typeface="Tw Cen MT" panose="020B0602020104020603" pitchFamily="34" charset="0"/>
              </a:rPr>
              <a:t>Meet income and residency requirements. </a:t>
            </a:r>
          </a:p>
          <a:p>
            <a:pPr lvl="1"/>
            <a:r>
              <a:rPr lang="en-US" sz="2400" b="0" u="sng">
                <a:solidFill>
                  <a:srgbClr val="02060A"/>
                </a:solidFill>
                <a:latin typeface="Tw Cen MT" panose="020B0602020104020603" pitchFamily="34" charset="0"/>
              </a:rPr>
              <a:t>Be accepted to and attend an eligible college. </a:t>
            </a:r>
          </a:p>
          <a:p>
            <a:pPr lvl="0"/>
            <a:endParaRPr lang="en-US">
              <a:latin typeface="Tw Cen MT" panose="020B0602020104020603" pitchFamily="34" charset="0"/>
            </a:endParaRPr>
          </a:p>
          <a:p>
            <a:pPr lvl="0"/>
            <a:r>
              <a:rPr lang="en-US">
                <a:latin typeface="Tw Cen MT" panose="020B0602020104020603" pitchFamily="34" charset="0"/>
              </a:rPr>
              <a:t>Key takeaway: CBS is a two step process</a:t>
            </a:r>
          </a:p>
          <a:p>
            <a:pPr lvl="0"/>
            <a:endParaRPr lang="en-US">
              <a:latin typeface="Tw Cen MT" panose="020B0602020104020603" pitchFamily="34" charset="0"/>
            </a:endParaRPr>
          </a:p>
          <a:p>
            <a:pPr lvl="0"/>
            <a:r>
              <a:rPr lang="en-US">
                <a:latin typeface="Tw Cen MT" panose="020B0602020104020603" pitchFamily="34" charset="0"/>
              </a:rPr>
              <a:t>Step 1: New with ESSB 5321, all FRPL eligible public school students in 7th, 8</a:t>
            </a:r>
            <a:r>
              <a:rPr lang="en-US" baseline="30000">
                <a:latin typeface="Tw Cen MT" panose="020B0602020104020603" pitchFamily="34" charset="0"/>
              </a:rPr>
              <a:t>th</a:t>
            </a:r>
            <a:r>
              <a:rPr lang="en-US">
                <a:latin typeface="Tw Cen MT" panose="020B0602020104020603" pitchFamily="34" charset="0"/>
              </a:rPr>
              <a:t>, or newly eligible 9</a:t>
            </a:r>
            <a:r>
              <a:rPr lang="en-US" baseline="30000">
                <a:latin typeface="Tw Cen MT" panose="020B0602020104020603" pitchFamily="34" charset="0"/>
              </a:rPr>
              <a:t>th</a:t>
            </a:r>
            <a:r>
              <a:rPr lang="en-US">
                <a:latin typeface="Tw Cen MT" panose="020B0602020104020603" pitchFamily="34" charset="0"/>
              </a:rPr>
              <a:t> graders will be auto-enrolled in CBS. Youth in state foster care are auto-enrolled throughout high school. This is GREAT! More students will have access to the CBS opportunity and those working with students can focus on college/career readiness rather than chasing down forms. CBS team is working on WAC updates. If asked: Private school and homeschool students – contact CBS team. </a:t>
            </a:r>
          </a:p>
          <a:p>
            <a:pPr lvl="0"/>
            <a:endParaRPr lang="en-US">
              <a:latin typeface="Tw Cen MT" panose="020B0602020104020603" pitchFamily="34" charset="0"/>
            </a:endParaRPr>
          </a:p>
          <a:p>
            <a:pPr lvl="0"/>
            <a:r>
              <a:rPr lang="en-US">
                <a:latin typeface="Tw Cen MT" panose="020B0602020104020603" pitchFamily="34" charset="0"/>
              </a:rPr>
              <a:t>Step 2:</a:t>
            </a:r>
          </a:p>
          <a:p>
            <a:pPr lvl="0"/>
            <a:r>
              <a:rPr lang="en-US">
                <a:latin typeface="Tw Cen MT" panose="020B0602020104020603" pitchFamily="34" charset="0"/>
              </a:rPr>
              <a:t>- Fulfill the College Bound Pledge in high school (Grad from WA HS or homeschool program and no felonies). If attending a four year college, graduate with a 2.0 GPA or better.</a:t>
            </a:r>
          </a:p>
          <a:p>
            <a:pPr lvl="0"/>
            <a:r>
              <a:rPr lang="en-US">
                <a:latin typeface="Tw Cen MT" panose="020B0602020104020603" pitchFamily="34" charset="0"/>
              </a:rPr>
              <a:t>	</a:t>
            </a:r>
            <a:r>
              <a:rPr lang="en-US" b="1">
                <a:latin typeface="Tw Cen MT" panose="020B0602020104020603" pitchFamily="34" charset="0"/>
              </a:rPr>
              <a:t>additional note if asked about how do we know if they have a felony? </a:t>
            </a:r>
            <a:r>
              <a:rPr lang="en-US">
                <a:latin typeface="Tw Cen MT" panose="020B0602020104020603" pitchFamily="34" charset="0"/>
              </a:rPr>
              <a:t>WSAC has a review process that looks at public record searches and Washington State Patrol records to confirm a student’s eligibility. </a:t>
            </a:r>
          </a:p>
          <a:p>
            <a:pPr lvl="0"/>
            <a:r>
              <a:rPr lang="en-US">
                <a:latin typeface="Tw Cen MT" panose="020B0602020104020603" pitchFamily="34" charset="0"/>
              </a:rPr>
              <a:t>- Meet income requirements; verified by the college using information from FAFSA or WASFA </a:t>
            </a:r>
          </a:p>
          <a:p>
            <a:pPr lvl="0"/>
            <a:r>
              <a:rPr lang="en-US">
                <a:latin typeface="Tw Cen MT" panose="020B0602020104020603" pitchFamily="34" charset="0"/>
              </a:rPr>
              <a:t>- Be accepted to and attend an eligible college within one year of graduating high school (i.e. they have 5 years after graduating high school to use 4 years of funds – up to a bachelor’s degree- can’t use for grad school)</a:t>
            </a:r>
          </a:p>
          <a:p>
            <a:endParaRPr lang="en-US"/>
          </a:p>
          <a:p>
            <a:endParaRPr lang="en-US"/>
          </a:p>
        </p:txBody>
      </p:sp>
      <p:sp>
        <p:nvSpPr>
          <p:cNvPr id="4" name="Slide Number Placeholder 3"/>
          <p:cNvSpPr>
            <a:spLocks noGrp="1"/>
          </p:cNvSpPr>
          <p:nvPr>
            <p:ph type="sldNum" sz="quarter" idx="10"/>
          </p:nvPr>
        </p:nvSpPr>
        <p:spPr/>
        <p:txBody>
          <a:bodyPr/>
          <a:lstStyle/>
          <a:p>
            <a:fld id="{1B9A179D-2D27-49E2-B022-8EDDA2EFE682}" type="slidenum">
              <a:rPr lang="en-US" smtClean="0"/>
              <a:t>15</a:t>
            </a:fld>
            <a:endParaRPr lang="en-US"/>
          </a:p>
        </p:txBody>
      </p:sp>
    </p:spTree>
    <p:extLst>
      <p:ext uri="{BB962C8B-B14F-4D97-AF65-F5344CB8AC3E}">
        <p14:creationId xmlns:p14="http://schemas.microsoft.com/office/powerpoint/2010/main" val="806328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El compromiso de la Beca </a:t>
            </a:r>
            <a:r>
              <a:rPr lang="es-ES" err="1"/>
              <a:t>College</a:t>
            </a:r>
            <a:r>
              <a:rPr lang="es-ES"/>
              <a:t> </a:t>
            </a:r>
            <a:r>
              <a:rPr lang="es-ES" err="1"/>
              <a:t>Bound</a:t>
            </a:r>
            <a:r>
              <a:rPr lang="es-ES"/>
              <a:t> (CBS) está aquí y es un recurso importante para los estudiantes porque los pone en proceso de divulgación y apoyo adicionales. Maximiza su elegibilidad potencial de ayuda financiera estatal.</a:t>
            </a:r>
          </a:p>
          <a:p>
            <a:endParaRPr lang="es-ES"/>
          </a:p>
          <a:p>
            <a:r>
              <a:rPr lang="es-ES" sz="1200" u="none">
                <a:latin typeface="Tw Cen MT Condensed Extra Bold" panose="020B0803020202020204" pitchFamily="34" charset="0"/>
              </a:rPr>
              <a:t>El compromiso temprano de ayuda financiera estatal para estudiantes elegibles. Los fondos de la beca </a:t>
            </a:r>
            <a:r>
              <a:rPr lang="es-ES" sz="1200" u="none" err="1">
                <a:latin typeface="Tw Cen MT Condensed Extra Bold" panose="020B0803020202020204" pitchFamily="34" charset="0"/>
              </a:rPr>
              <a:t>College</a:t>
            </a:r>
            <a:r>
              <a:rPr lang="es-ES" sz="1200" u="none">
                <a:latin typeface="Tw Cen MT Condensed Extra Bold" panose="020B0803020202020204" pitchFamily="34" charset="0"/>
              </a:rPr>
              <a:t> </a:t>
            </a:r>
            <a:r>
              <a:rPr lang="es-ES" sz="1200" u="none" err="1">
                <a:latin typeface="Tw Cen MT Condensed Extra Bold" panose="020B0803020202020204" pitchFamily="34" charset="0"/>
              </a:rPr>
              <a:t>Bound</a:t>
            </a:r>
            <a:r>
              <a:rPr lang="es-ES" sz="1200" u="none">
                <a:latin typeface="Tw Cen MT Condensed Extra Bold" panose="020B0803020202020204" pitchFamily="34" charset="0"/>
              </a:rPr>
              <a:t> pueden provenir de diferentes grupos de ayuda financiera estatal (que se mencionaron en la última diapositiva), pero los costos enumerados (matrícula a tarifas públicas, tarifas pequeñas y asignación para libros estarán cubiertos).</a:t>
            </a:r>
          </a:p>
          <a:p>
            <a:endParaRPr lang="es-ES" sz="1200" u="none">
              <a:latin typeface="Tw Cen MT Condensed Extra Bold" panose="020B0803020202020204" pitchFamily="34" charset="0"/>
            </a:endParaRPr>
          </a:p>
          <a:p>
            <a:r>
              <a:rPr lang="es-ES" sz="1200" u="none">
                <a:latin typeface="Tw Cen MT Condensed Extra Bold" panose="020B0803020202020204" pitchFamily="34" charset="0"/>
              </a:rPr>
              <a:t>Esta beca se puede utilizar para programas técnicos y vocacionales de 4 años y 2 años en más de 65 escuelas en WA.</a:t>
            </a:r>
          </a:p>
          <a:p>
            <a:endParaRPr lang="es-ES" sz="1200" u="none">
              <a:latin typeface="Tw Cen MT Condensed Extra Bold" panose="020B0803020202020204" pitchFamily="34" charset="0"/>
            </a:endParaRPr>
          </a:p>
          <a:p>
            <a:r>
              <a:rPr lang="es-ES" sz="1200" u="none">
                <a:latin typeface="Tw Cen MT Condensed Extra Bold" panose="020B0803020202020204" pitchFamily="34" charset="0"/>
              </a:rPr>
              <a:t>Desde 2007, 300.000 estudiantes solicitaron la Beca </a:t>
            </a:r>
            <a:r>
              <a:rPr lang="es-ES" sz="1200" u="none" err="1">
                <a:latin typeface="Tw Cen MT Condensed Extra Bold" panose="020B0803020202020204" pitchFamily="34" charset="0"/>
              </a:rPr>
              <a:t>College</a:t>
            </a:r>
            <a:r>
              <a:rPr lang="es-ES" sz="1200" u="none">
                <a:latin typeface="Tw Cen MT Condensed Extra Bold" panose="020B0803020202020204" pitchFamily="34" charset="0"/>
              </a:rPr>
              <a:t> </a:t>
            </a:r>
            <a:r>
              <a:rPr lang="es-ES" sz="1200" u="none" err="1">
                <a:latin typeface="Tw Cen MT Condensed Extra Bold" panose="020B0803020202020204" pitchFamily="34" charset="0"/>
              </a:rPr>
              <a:t>Bound</a:t>
            </a:r>
            <a:r>
              <a:rPr lang="es-ES" sz="1200" u="none">
                <a:latin typeface="Tw Cen MT Condensed Extra Bold" panose="020B0803020202020204" pitchFamily="34" charset="0"/>
              </a:rPr>
              <a:t>.</a:t>
            </a:r>
          </a:p>
          <a:p>
            <a:endParaRPr lang="en-US" sz="1200" u="none">
              <a:latin typeface="Tw Cen MT Condensed Extra Bold" panose="020B0803020202020204" pitchFamily="34" charset="0"/>
            </a:endParaRPr>
          </a:p>
          <a:p>
            <a:r>
              <a:rPr lang="en-US" sz="1200" u="sng">
                <a:latin typeface="Tw Cen MT Condensed Extra Bold" panose="020B0803020202020204" pitchFamily="34" charset="0"/>
              </a:rPr>
              <a:t>College Bound Scholarship Commitment </a:t>
            </a:r>
            <a:endParaRPr lang="en-US" b="1" u="sng"/>
          </a:p>
          <a:p>
            <a:r>
              <a:rPr lang="en-US" b="1" u="sng"/>
              <a:t>CBS is still here and an important resource for students because:</a:t>
            </a:r>
          </a:p>
          <a:p>
            <a:pPr marL="174708" indent="-174708">
              <a:buFontTx/>
              <a:buChar char="-"/>
            </a:pPr>
            <a:r>
              <a:rPr lang="en-US" b="1" u="sng"/>
              <a:t>Puts them in the pipeline for additional outreach and supports</a:t>
            </a:r>
          </a:p>
          <a:p>
            <a:pPr marL="174708" indent="-174708">
              <a:buFontTx/>
              <a:buChar char="-"/>
            </a:pPr>
            <a:r>
              <a:rPr lang="en-US" b="1" u="sng"/>
              <a:t>Maximizes their potential state financial aid eligibility </a:t>
            </a:r>
          </a:p>
          <a:p>
            <a:endParaRPr lang="en-US"/>
          </a:p>
          <a:p>
            <a:r>
              <a:rPr lang="en-US"/>
              <a:t>Early</a:t>
            </a:r>
            <a:r>
              <a:rPr lang="en-US" baseline="0"/>
              <a:t> s</a:t>
            </a:r>
            <a:r>
              <a:rPr lang="en-US"/>
              <a:t>tate financial aid commitment to eligible students. CBS funds may come from different buckets of state financial aid (that were mentioned on the last slide), but those costs listed (tuition at public rates, small fees and book allowance will be covered)</a:t>
            </a:r>
          </a:p>
          <a:p>
            <a:endParaRPr lang="en-US"/>
          </a:p>
          <a:p>
            <a:r>
              <a:rPr lang="en-US"/>
              <a:t>Can be used for 4 year, 2 year, technical, vocational programs at over 65 schools in WA. </a:t>
            </a:r>
          </a:p>
          <a:p>
            <a:endParaRPr lang="en-US"/>
          </a:p>
          <a:p>
            <a:r>
              <a:rPr lang="en-US"/>
              <a:t>Since 2007, 300,000 students applied for the College Bound Scholarship.</a:t>
            </a:r>
          </a:p>
          <a:p>
            <a:endParaRPr lang="en-US"/>
          </a:p>
        </p:txBody>
      </p:sp>
      <p:sp>
        <p:nvSpPr>
          <p:cNvPr id="4" name="Slide Number Placeholder 3"/>
          <p:cNvSpPr>
            <a:spLocks noGrp="1"/>
          </p:cNvSpPr>
          <p:nvPr>
            <p:ph type="sldNum" sz="quarter" idx="10"/>
          </p:nvPr>
        </p:nvSpPr>
        <p:spPr/>
        <p:txBody>
          <a:bodyPr/>
          <a:lstStyle/>
          <a:p>
            <a:pPr defTabSz="931774">
              <a:defRPr/>
            </a:pPr>
            <a:fld id="{1B9A179D-2D27-49E2-B022-8EDDA2EFE682}" type="slidenum">
              <a:rPr lang="en-US">
                <a:solidFill>
                  <a:srgbClr val="595959"/>
                </a:solidFill>
                <a:latin typeface="Book Antiqua"/>
              </a:rPr>
              <a:pPr defTabSz="931774">
                <a:defRPr/>
              </a:pPr>
              <a:t>16</a:t>
            </a:fld>
            <a:endParaRPr lang="en-US">
              <a:solidFill>
                <a:srgbClr val="595959"/>
              </a:solidFill>
              <a:latin typeface="Book Antiqua"/>
            </a:endParaRPr>
          </a:p>
        </p:txBody>
      </p:sp>
    </p:spTree>
    <p:extLst>
      <p:ext uri="{BB962C8B-B14F-4D97-AF65-F5344CB8AC3E}">
        <p14:creationId xmlns:p14="http://schemas.microsoft.com/office/powerpoint/2010/main" val="3146114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212529"/>
                </a:solidFill>
                <a:effectLst/>
                <a:latin typeface="-apple-system"/>
              </a:rPr>
              <a:t>Para mas </a:t>
            </a:r>
            <a:r>
              <a:rPr lang="en-US" b="0" i="0" err="1">
                <a:solidFill>
                  <a:srgbClr val="212529"/>
                </a:solidFill>
                <a:effectLst/>
                <a:latin typeface="-apple-system"/>
              </a:rPr>
              <a:t>informacion</a:t>
            </a:r>
            <a:r>
              <a:rPr lang="en-US" b="0" i="0">
                <a:solidFill>
                  <a:srgbClr val="212529"/>
                </a:solidFill>
                <a:effectLst/>
                <a:latin typeface="-apple-system"/>
              </a:rPr>
              <a:t>, </a:t>
            </a:r>
            <a:r>
              <a:rPr lang="en-US" b="0" i="0" err="1">
                <a:solidFill>
                  <a:srgbClr val="212529"/>
                </a:solidFill>
                <a:effectLst/>
                <a:latin typeface="-apple-system"/>
              </a:rPr>
              <a:t>contacte</a:t>
            </a:r>
            <a:r>
              <a:rPr lang="en-US" b="0" i="0">
                <a:solidFill>
                  <a:srgbClr val="212529"/>
                </a:solidFill>
                <a:effectLst/>
                <a:latin typeface="-apple-system"/>
              </a:rPr>
              <a:t> la </a:t>
            </a:r>
            <a:r>
              <a:rPr lang="en-US" b="0" i="0" err="1">
                <a:solidFill>
                  <a:srgbClr val="212529"/>
                </a:solidFill>
                <a:effectLst/>
                <a:latin typeface="-apple-system"/>
              </a:rPr>
              <a:t>oficina</a:t>
            </a:r>
            <a:r>
              <a:rPr lang="en-US" b="0" i="0">
                <a:solidFill>
                  <a:srgbClr val="212529"/>
                </a:solidFill>
                <a:effectLst/>
                <a:latin typeface="-apple-system"/>
              </a:rPr>
              <a:t> de </a:t>
            </a:r>
            <a:r>
              <a:rPr lang="en-US" b="0" i="0" err="1">
                <a:solidFill>
                  <a:srgbClr val="212529"/>
                </a:solidFill>
                <a:effectLst/>
                <a:latin typeface="-apple-system"/>
              </a:rPr>
              <a:t>ayuda</a:t>
            </a:r>
            <a:r>
              <a:rPr lang="en-US" b="0" i="0">
                <a:solidFill>
                  <a:srgbClr val="212529"/>
                </a:solidFill>
                <a:effectLst/>
                <a:latin typeface="-apple-system"/>
              </a:rPr>
              <a:t> </a:t>
            </a:r>
            <a:r>
              <a:rPr lang="en-US" b="0" i="0" err="1">
                <a:solidFill>
                  <a:srgbClr val="212529"/>
                </a:solidFill>
                <a:effectLst/>
                <a:latin typeface="-apple-system"/>
              </a:rPr>
              <a:t>financiera</a:t>
            </a:r>
            <a:r>
              <a:rPr lang="en-US" b="0" i="0">
                <a:solidFill>
                  <a:srgbClr val="212529"/>
                </a:solidFill>
                <a:effectLst/>
                <a:latin typeface="-apple-system"/>
              </a:rPr>
              <a:t> de </a:t>
            </a:r>
            <a:r>
              <a:rPr lang="en-US" b="0" i="0" err="1">
                <a:solidFill>
                  <a:srgbClr val="212529"/>
                </a:solidFill>
                <a:effectLst/>
                <a:latin typeface="-apple-system"/>
              </a:rPr>
              <a:t>su</a:t>
            </a:r>
            <a:r>
              <a:rPr lang="en-US" b="0" i="0">
                <a:solidFill>
                  <a:srgbClr val="212529"/>
                </a:solidFill>
                <a:effectLst/>
                <a:latin typeface="-apple-system"/>
              </a:rPr>
              <a:t> colegio o </a:t>
            </a:r>
            <a:r>
              <a:rPr lang="en-US" b="0" i="0" err="1">
                <a:solidFill>
                  <a:srgbClr val="212529"/>
                </a:solidFill>
                <a:effectLst/>
                <a:latin typeface="-apple-system"/>
              </a:rPr>
              <a:t>universidad</a:t>
            </a:r>
            <a:r>
              <a:rPr lang="en-US" b="0" i="0">
                <a:solidFill>
                  <a:srgbClr val="212529"/>
                </a:solidFill>
                <a:effectLst/>
                <a:latin typeface="-apple-system"/>
              </a:rPr>
              <a:t>. </a:t>
            </a:r>
            <a:br>
              <a:rPr lang="en-US"/>
            </a:br>
            <a:r>
              <a:rPr lang="en-US"/>
              <a:t>https://portal.wsac.wa.gov/a/aid-calculator/</a:t>
            </a:r>
          </a:p>
          <a:p>
            <a:pPr algn="l"/>
            <a:endParaRPr lang="en-US" sz="1200"/>
          </a:p>
          <a:p>
            <a:pPr algn="l"/>
            <a:r>
              <a:rPr lang="en-US" sz="1200" u="sng"/>
              <a:t>State Financial Aid Calcul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Tw Cen MT" panose="020B0602020104020603" pitchFamily="34" charset="0"/>
              </a:rPr>
              <a:t>This tool calculates potential awards from the Washington College Grant and Pell Grant programs. </a:t>
            </a:r>
            <a:endParaRPr lang="en-US" u="sng"/>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Tw Cen MT" panose="020B0602020104020603" pitchFamily="34" charset="0"/>
              </a:rPr>
              <a:t>There may be more aid available to you from other state and federal programs, private scholarships, or directly from the college you atte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Tw Cen MT" panose="020B0602020104020603" pitchFamily="34" charset="0"/>
              </a:rPr>
              <a:t>The only way to know for sure how much financial aid you can receive is to complete a FAFSA or WASFA financial aid application</a:t>
            </a:r>
          </a:p>
          <a:p>
            <a:pPr algn="l"/>
            <a:endParaRPr lang="en-US" b="0" i="0">
              <a:solidFill>
                <a:srgbClr val="212529"/>
              </a:solidFill>
              <a:effectLst/>
              <a:latin typeface="-apple-system"/>
            </a:endParaRPr>
          </a:p>
          <a:p>
            <a:pPr algn="l"/>
            <a:r>
              <a:rPr lang="en-US" b="0" i="0">
                <a:solidFill>
                  <a:srgbClr val="212529"/>
                </a:solidFill>
                <a:effectLst/>
                <a:latin typeface="-apple-system"/>
              </a:rPr>
              <a:t>This tool calculates potential awards from the Washington College Grant and Pell Grant programs. There may be more aid available to you from other state and federal programs, from </a:t>
            </a:r>
            <a:r>
              <a:rPr lang="en-US" b="0" i="0" u="none" strike="noStrike">
                <a:solidFill>
                  <a:srgbClr val="007BFF"/>
                </a:solidFill>
                <a:effectLst/>
                <a:latin typeface="-apple-system"/>
                <a:hlinkClick r:id="rId3"/>
              </a:rPr>
              <a:t>private scholarships,</a:t>
            </a:r>
            <a:r>
              <a:rPr lang="en-US" b="0" i="0">
                <a:solidFill>
                  <a:srgbClr val="212529"/>
                </a:solidFill>
                <a:effectLst/>
                <a:latin typeface="-apple-system"/>
              </a:rPr>
              <a:t> or directly from the college you attend. The only way to know for sure how much financial aid you can receive is to </a:t>
            </a:r>
            <a:r>
              <a:rPr lang="en-US" b="0" i="0" u="none" strike="noStrike">
                <a:solidFill>
                  <a:srgbClr val="007BFF"/>
                </a:solidFill>
                <a:effectLst/>
                <a:latin typeface="-apple-system"/>
                <a:hlinkClick r:id="rId4"/>
              </a:rPr>
              <a:t>complete a FAFSA or WASFA financial aid application.</a:t>
            </a:r>
            <a:r>
              <a:rPr lang="en-US" b="0" i="0">
                <a:solidFill>
                  <a:srgbClr val="212529"/>
                </a:solidFill>
                <a:effectLst/>
                <a:latin typeface="-apple-system"/>
              </a:rPr>
              <a:t> For more information, contact the college’s financial aid office.</a:t>
            </a:r>
          </a:p>
          <a:p>
            <a:br>
              <a:rPr lang="en-US"/>
            </a:br>
            <a:r>
              <a:rPr lang="en-US"/>
              <a:t>https://portal.wsac.wa.gov/a/aid-calculator/</a:t>
            </a:r>
          </a:p>
        </p:txBody>
      </p:sp>
      <p:sp>
        <p:nvSpPr>
          <p:cNvPr id="4" name="Slide Number Placeholder 3"/>
          <p:cNvSpPr>
            <a:spLocks noGrp="1"/>
          </p:cNvSpPr>
          <p:nvPr>
            <p:ph type="sldNum" sz="quarter" idx="5"/>
          </p:nvPr>
        </p:nvSpPr>
        <p:spPr/>
        <p:txBody>
          <a:bodyPr/>
          <a:lstStyle/>
          <a:p>
            <a:fld id="{D0B21C6A-5A06-4DD3-9905-90CB9635CE2D}" type="slidenum">
              <a:rPr lang="en-US" smtClean="0"/>
              <a:t>17</a:t>
            </a:fld>
            <a:endParaRPr lang="en-US"/>
          </a:p>
        </p:txBody>
      </p:sp>
    </p:spTree>
    <p:extLst>
      <p:ext uri="{BB962C8B-B14F-4D97-AF65-F5344CB8AC3E}">
        <p14:creationId xmlns:p14="http://schemas.microsoft.com/office/powerpoint/2010/main" val="2765833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u="none"/>
              <a:t>Los estudiantes solo aplican usando una aplicación, la FAFSA o la WASFA. Si no están seguros de qué aplicación usar, pueden ir a wsac.wa.gov/WASFA y realizar una evaluació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u="none"/>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t>FAFSA/WASFA: Rule of O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tudents only apply using one application, the FAFSA or the WASFA.  If they are unsure of which application to use, they can go to </a:t>
            </a:r>
            <a:r>
              <a:rPr lang="en-US" sz="1200">
                <a:latin typeface="+mj-lt"/>
              </a:rPr>
              <a:t>wsac.wa.gov/WASFA and take an assessment.</a:t>
            </a:r>
          </a:p>
          <a:p>
            <a:endParaRPr lang="en-US"/>
          </a:p>
        </p:txBody>
      </p:sp>
      <p:sp>
        <p:nvSpPr>
          <p:cNvPr id="4" name="Slide Number Placeholder 3"/>
          <p:cNvSpPr>
            <a:spLocks noGrp="1"/>
          </p:cNvSpPr>
          <p:nvPr>
            <p:ph type="sldNum" sz="quarter" idx="10"/>
          </p:nvPr>
        </p:nvSpPr>
        <p:spPr/>
        <p:txBody>
          <a:bodyPr/>
          <a:lstStyle/>
          <a:p>
            <a:fld id="{77542409-6A04-4DC6-AC3A-D3758287A8F2}" type="slidenum">
              <a:rPr lang="en-US" smtClean="0"/>
              <a:t>18</a:t>
            </a:fld>
            <a:endParaRPr lang="en-US"/>
          </a:p>
        </p:txBody>
      </p:sp>
    </p:spTree>
    <p:extLst>
      <p:ext uri="{BB962C8B-B14F-4D97-AF65-F5344CB8AC3E}">
        <p14:creationId xmlns:p14="http://schemas.microsoft.com/office/powerpoint/2010/main" val="21767303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Aquí puede ver la página de inicio de la Solicitud Gratuita de Ayuda Federal para Estudiantes (FAFSA) https://studentaid.gov/h/apply-for-aid/fafsa</a:t>
            </a:r>
          </a:p>
          <a:p>
            <a:endParaRPr lang="en-US"/>
          </a:p>
          <a:p>
            <a:r>
              <a:rPr lang="en-US"/>
              <a:t>Free Application for Federal Student Aid </a:t>
            </a:r>
          </a:p>
          <a:p>
            <a:r>
              <a:rPr lang="en-US"/>
              <a:t>Here you can see the </a:t>
            </a:r>
            <a:r>
              <a:rPr lang="en-US" sz="1200"/>
              <a:t>Free Application for Federal Student Aid (FAFSA) home page https://studentaid.gov/h/apply-for-aid/fafsa </a:t>
            </a:r>
            <a:endParaRPr lang="en-US"/>
          </a:p>
        </p:txBody>
      </p:sp>
      <p:sp>
        <p:nvSpPr>
          <p:cNvPr id="4" name="Slide Number Placeholder 3"/>
          <p:cNvSpPr>
            <a:spLocks noGrp="1"/>
          </p:cNvSpPr>
          <p:nvPr>
            <p:ph type="sldNum" sz="quarter" idx="5"/>
          </p:nvPr>
        </p:nvSpPr>
        <p:spPr/>
        <p:txBody>
          <a:bodyPr/>
          <a:lstStyle/>
          <a:p>
            <a:fld id="{F183822A-29A8-4DE4-8EB5-04095DD45EA7}" type="slidenum">
              <a:rPr lang="en-US" smtClean="0"/>
              <a:t>19</a:t>
            </a:fld>
            <a:endParaRPr lang="en-US"/>
          </a:p>
        </p:txBody>
      </p:sp>
    </p:spTree>
    <p:extLst>
      <p:ext uri="{BB962C8B-B14F-4D97-AF65-F5344CB8AC3E}">
        <p14:creationId xmlns:p14="http://schemas.microsoft.com/office/powerpoint/2010/main" val="22020868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b="1" u="none"/>
              <a:t>Nuestra misión</a:t>
            </a:r>
          </a:p>
          <a:p>
            <a:r>
              <a:rPr lang="es-ES" sz="1200" u="none"/>
              <a:t>Promovemos las oportunidades educativas y los logros en Washington. En la búsqueda de nuestra misión, el Consejo de Logros Estudiantiles de Washington:</a:t>
            </a:r>
          </a:p>
          <a:p>
            <a:r>
              <a:rPr lang="es-ES" sz="1200" u="none"/>
              <a:t>Lidera la planificación estratégica en todo el estado para mejorar la coordinación educativa y las transiciones.</a:t>
            </a:r>
          </a:p>
          <a:p>
            <a:r>
              <a:rPr lang="es-ES" sz="1200" u="none"/>
              <a:t>Apoya a los habitantes de Washington a través de la administración de ayuda financiera, planes de ahorro para la universidad 529 y servicios de apoyo.</a:t>
            </a:r>
          </a:p>
          <a:p>
            <a:r>
              <a:rPr lang="es-ES" sz="1200" u="none"/>
              <a:t>Aboga por los beneficios económicos, sociales y cívicos de la educación postsecundaria.</a:t>
            </a:r>
            <a:endParaRPr lang="en-US" sz="1200" u="none"/>
          </a:p>
          <a:p>
            <a:r>
              <a:rPr lang="es-ES" sz="1200" b="1" u="none"/>
              <a:t>Nuestra visión</a:t>
            </a:r>
          </a:p>
          <a:p>
            <a:r>
              <a:rPr lang="es-ES" sz="1200" u="none"/>
              <a:t>Inspiramos y fomentamos la excelencia en el logro educativo.</a:t>
            </a:r>
          </a:p>
          <a:p>
            <a:r>
              <a:rPr lang="es-ES" sz="1200" b="1" u="none"/>
              <a:t>Nuestro compromiso con la equidad</a:t>
            </a:r>
          </a:p>
          <a:p>
            <a:r>
              <a:rPr lang="es-ES" sz="1200" u="none"/>
              <a:t>En apoyo del avance del logro educativo para todos los habitantes de Washington, nos comprometemos a fomentar una cultura de equidad, diversidad e inclusión entre nuestro personal y en todas las áreas de nuestro trabajo.</a:t>
            </a:r>
          </a:p>
          <a:p>
            <a:endParaRPr lang="en-US" sz="1200" u="sng"/>
          </a:p>
          <a:p>
            <a:r>
              <a:rPr lang="en-US" sz="1200" u="sng"/>
              <a:t>About the Counci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sng" strike="noStrike" kern="1200" cap="none" spc="0" normalizeH="0" baseline="0" noProof="0">
                <a:ln>
                  <a:noFill/>
                </a:ln>
                <a:solidFill>
                  <a:prstClr val="black">
                    <a:lumMod val="75000"/>
                    <a:lumOff val="25000"/>
                  </a:prstClr>
                </a:solidFill>
                <a:effectLst/>
                <a:uLnTx/>
                <a:uFillTx/>
                <a:latin typeface="+mj-lt"/>
                <a:ea typeface="+mn-ea"/>
                <a:cs typeface="+mn-cs"/>
              </a:rPr>
              <a:t>We advance educational opportunities and attainment in Washington. </a:t>
            </a:r>
            <a:endParaRPr lang="en-US" u="sng"/>
          </a:p>
          <a:p>
            <a:endParaRPr lang="en-US"/>
          </a:p>
          <a:p>
            <a:r>
              <a:rPr lang="en-US"/>
              <a:t>https://wsac.wa.gov/</a:t>
            </a:r>
          </a:p>
          <a:p>
            <a:endParaRPr lang="en-US"/>
          </a:p>
          <a:p>
            <a:r>
              <a:rPr lang="en-US" sz="1200" b="1" i="0" kern="1200">
                <a:solidFill>
                  <a:schemeClr val="tx1"/>
                </a:solidFill>
                <a:effectLst/>
                <a:latin typeface="+mn-lt"/>
                <a:ea typeface="+mn-ea"/>
                <a:cs typeface="+mn-cs"/>
              </a:rPr>
              <a:t>Our mission</a:t>
            </a:r>
          </a:p>
          <a:p>
            <a:r>
              <a:rPr lang="en-US" sz="1200" b="0" i="0" kern="1200">
                <a:solidFill>
                  <a:schemeClr val="tx1"/>
                </a:solidFill>
                <a:effectLst/>
                <a:latin typeface="+mn-lt"/>
                <a:ea typeface="+mn-ea"/>
                <a:cs typeface="+mn-cs"/>
              </a:rPr>
              <a:t>We advance educational opportunities and attainment in Washington. In pursuit of our mission, the Washington Student Achievement Council:</a:t>
            </a:r>
          </a:p>
          <a:p>
            <a:r>
              <a:rPr lang="en-US" sz="1200" b="0" i="0" kern="1200">
                <a:solidFill>
                  <a:schemeClr val="tx1"/>
                </a:solidFill>
                <a:effectLst/>
                <a:latin typeface="+mn-lt"/>
                <a:ea typeface="+mn-ea"/>
                <a:cs typeface="+mn-cs"/>
              </a:rPr>
              <a:t>Leads statewide strategic planning to improve educational coordination and transitions.</a:t>
            </a:r>
          </a:p>
          <a:p>
            <a:r>
              <a:rPr lang="en-US" sz="1200" b="0" i="0" kern="1200">
                <a:solidFill>
                  <a:schemeClr val="tx1"/>
                </a:solidFill>
                <a:effectLst/>
                <a:latin typeface="+mn-lt"/>
                <a:ea typeface="+mn-ea"/>
                <a:cs typeface="+mn-cs"/>
              </a:rPr>
              <a:t>Supports Washingtonians through the administration of financial aid, 529 college savings plans, and support services.</a:t>
            </a:r>
          </a:p>
          <a:p>
            <a:r>
              <a:rPr lang="en-US" sz="1200" b="0" i="0" kern="1200">
                <a:solidFill>
                  <a:schemeClr val="tx1"/>
                </a:solidFill>
                <a:effectLst/>
                <a:latin typeface="+mn-lt"/>
                <a:ea typeface="+mn-ea"/>
                <a:cs typeface="+mn-cs"/>
              </a:rPr>
              <a:t>Advocates for the economic, social, and civic benefits of postsecondary education.</a:t>
            </a:r>
          </a:p>
          <a:p>
            <a:r>
              <a:rPr lang="en-US" sz="1200" b="1" i="0" kern="1200">
                <a:solidFill>
                  <a:schemeClr val="tx1"/>
                </a:solidFill>
                <a:effectLst/>
                <a:latin typeface="+mn-lt"/>
                <a:ea typeface="+mn-ea"/>
                <a:cs typeface="+mn-cs"/>
              </a:rPr>
              <a:t>Our vision</a:t>
            </a:r>
          </a:p>
          <a:p>
            <a:r>
              <a:rPr lang="en-US" sz="1200" b="0" i="0" kern="1200">
                <a:solidFill>
                  <a:schemeClr val="tx1"/>
                </a:solidFill>
                <a:effectLst/>
                <a:latin typeface="+mn-lt"/>
                <a:ea typeface="+mn-ea"/>
                <a:cs typeface="+mn-cs"/>
              </a:rPr>
              <a:t>We inspire and foster excellence in educational attainment.</a:t>
            </a:r>
          </a:p>
          <a:p>
            <a:r>
              <a:rPr lang="en-US" sz="1200" b="1" i="0" kern="1200">
                <a:solidFill>
                  <a:schemeClr val="tx1"/>
                </a:solidFill>
                <a:effectLst/>
                <a:latin typeface="+mn-lt"/>
                <a:ea typeface="+mn-ea"/>
                <a:cs typeface="+mn-cs"/>
              </a:rPr>
              <a:t>Our commitment to equity</a:t>
            </a:r>
          </a:p>
          <a:p>
            <a:r>
              <a:rPr lang="en-US" sz="1200" b="0" i="0" kern="1200">
                <a:solidFill>
                  <a:schemeClr val="tx1"/>
                </a:solidFill>
                <a:effectLst/>
                <a:latin typeface="+mn-lt"/>
                <a:ea typeface="+mn-ea"/>
                <a:cs typeface="+mn-cs"/>
              </a:rPr>
              <a:t>In support of advancing educational attainment for all Washingtonians, we commit to fostering a culture of equity, diversity, and inclusion among our staff and in all areas of our work.</a:t>
            </a:r>
          </a:p>
          <a:p>
            <a:endParaRPr lang="en-US"/>
          </a:p>
        </p:txBody>
      </p:sp>
      <p:sp>
        <p:nvSpPr>
          <p:cNvPr id="4" name="Slide Number Placeholder 3"/>
          <p:cNvSpPr>
            <a:spLocks noGrp="1"/>
          </p:cNvSpPr>
          <p:nvPr>
            <p:ph type="sldNum" sz="quarter" idx="10"/>
          </p:nvPr>
        </p:nvSpPr>
        <p:spPr/>
        <p:txBody>
          <a:bodyPr/>
          <a:lstStyle/>
          <a:p>
            <a:pPr defTabSz="931774">
              <a:defRPr/>
            </a:pPr>
            <a:fld id="{0D027771-A5CF-4A09-9896-ADE9397A25CC}" type="slidenum">
              <a:rPr lang="en-US">
                <a:solidFill>
                  <a:prstClr val="black"/>
                </a:solidFill>
                <a:latin typeface="Calibri" panose="020F0502020204030204"/>
              </a:rPr>
              <a:pPr defTabSz="931774">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35126849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Los estudiantes pueden usar estas formas para solicitar la FAFSA. El sitio web es la forma más rápida de presentar la solicitud, pero los estudiantes pueden usar la solicitud en formulario de papel si no pueden acceder a la solicitud en línea.</a:t>
            </a:r>
          </a:p>
          <a:p>
            <a:endParaRPr lang="es-ES"/>
          </a:p>
          <a:p>
            <a:r>
              <a:rPr lang="en-US"/>
              <a:t>Two Ways to Apply for the FAFSA</a:t>
            </a:r>
            <a:endParaRPr lang="es-ES"/>
          </a:p>
          <a:p>
            <a:r>
              <a:rPr lang="en-US"/>
              <a:t>Students can use these ways to apply for the FAFSA.  The website is the quickest way to apply but students can use the paper application if they are unable to access the application online.</a:t>
            </a:r>
          </a:p>
        </p:txBody>
      </p:sp>
      <p:sp>
        <p:nvSpPr>
          <p:cNvPr id="4" name="Slide Number Placeholder 3"/>
          <p:cNvSpPr>
            <a:spLocks noGrp="1"/>
          </p:cNvSpPr>
          <p:nvPr>
            <p:ph type="sldNum" sz="quarter" idx="5"/>
          </p:nvPr>
        </p:nvSpPr>
        <p:spPr/>
        <p:txBody>
          <a:bodyPr/>
          <a:lstStyle/>
          <a:p>
            <a:fld id="{F183822A-29A8-4DE4-8EB5-04095DD45EA7}" type="slidenum">
              <a:rPr lang="en-US" smtClean="0"/>
              <a:t>20</a:t>
            </a:fld>
            <a:endParaRPr lang="en-US"/>
          </a:p>
        </p:txBody>
      </p:sp>
    </p:spTree>
    <p:extLst>
      <p:ext uri="{BB962C8B-B14F-4D97-AF65-F5344CB8AC3E}">
        <p14:creationId xmlns:p14="http://schemas.microsoft.com/office/powerpoint/2010/main" val="15395010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El FASFA esta disponible en Inglés y Español. </a:t>
            </a:r>
          </a:p>
          <a:p>
            <a:endParaRPr lang="en-US" sz="1200"/>
          </a:p>
          <a:p>
            <a:r>
              <a:rPr lang="en-US" sz="1200"/>
              <a:t>FAFSA Website Language Options</a:t>
            </a:r>
            <a:endParaRPr lang="en-US"/>
          </a:p>
          <a:p>
            <a:r>
              <a:rPr lang="en-US"/>
              <a:t>The FAFSA site is offered in English and Spanish.</a:t>
            </a:r>
          </a:p>
        </p:txBody>
      </p:sp>
      <p:sp>
        <p:nvSpPr>
          <p:cNvPr id="4" name="Slide Number Placeholder 3"/>
          <p:cNvSpPr>
            <a:spLocks noGrp="1"/>
          </p:cNvSpPr>
          <p:nvPr>
            <p:ph type="sldNum" sz="quarter" idx="5"/>
          </p:nvPr>
        </p:nvSpPr>
        <p:spPr/>
        <p:txBody>
          <a:bodyPr/>
          <a:lstStyle/>
          <a:p>
            <a:fld id="{F183822A-29A8-4DE4-8EB5-04095DD45EA7}" type="slidenum">
              <a:rPr lang="en-US" smtClean="0"/>
              <a:t>21</a:t>
            </a:fld>
            <a:endParaRPr lang="en-US"/>
          </a:p>
        </p:txBody>
      </p:sp>
    </p:spTree>
    <p:extLst>
      <p:ext uri="{BB962C8B-B14F-4D97-AF65-F5344CB8AC3E}">
        <p14:creationId xmlns:p14="http://schemas.microsoft.com/office/powerpoint/2010/main" val="41000142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a:t>https://studentaid.gov/fsa-id/create-account/personal-info</a:t>
            </a:r>
          </a:p>
          <a:p>
            <a:r>
              <a:rPr lang="en-US" u="none"/>
              <a:t>Si </a:t>
            </a:r>
            <a:r>
              <a:rPr lang="en-US" u="none" err="1"/>
              <a:t>el</a:t>
            </a:r>
            <a:r>
              <a:rPr lang="en-US" u="none"/>
              <a:t> solicitante </a:t>
            </a:r>
            <a:r>
              <a:rPr lang="en-US" u="none" err="1"/>
              <a:t>usa</a:t>
            </a:r>
            <a:r>
              <a:rPr lang="en-US" u="none"/>
              <a:t> número de </a:t>
            </a:r>
            <a:r>
              <a:rPr lang="en-US" u="none" err="1"/>
              <a:t>seguro</a:t>
            </a:r>
            <a:r>
              <a:rPr lang="en-US" u="none"/>
              <a:t> social, fecha de </a:t>
            </a:r>
            <a:r>
              <a:rPr lang="en-US" u="none" err="1"/>
              <a:t>nacimiento</a:t>
            </a:r>
            <a:r>
              <a:rPr lang="en-US" u="none"/>
              <a:t> y </a:t>
            </a:r>
            <a:r>
              <a:rPr lang="en-US" u="none" err="1"/>
              <a:t>nombre</a:t>
            </a:r>
            <a:r>
              <a:rPr lang="en-US" u="none"/>
              <a:t> para acceder al FASFA, se le </a:t>
            </a:r>
            <a:r>
              <a:rPr lang="en-US" u="none" err="1"/>
              <a:t>pedirá</a:t>
            </a:r>
            <a:r>
              <a:rPr lang="en-US" u="none"/>
              <a:t> que </a:t>
            </a:r>
            <a:r>
              <a:rPr lang="en-US" u="none" err="1"/>
              <a:t>pongan</a:t>
            </a:r>
            <a:r>
              <a:rPr lang="en-US" u="none"/>
              <a:t> </a:t>
            </a:r>
            <a:r>
              <a:rPr lang="en-US" u="none" err="1"/>
              <a:t>su</a:t>
            </a:r>
            <a:r>
              <a:rPr lang="en-US" u="none"/>
              <a:t> FSA ID para usar la </a:t>
            </a:r>
            <a:r>
              <a:rPr lang="en-US" u="none" err="1"/>
              <a:t>herramienta</a:t>
            </a:r>
            <a:r>
              <a:rPr lang="en-US" u="none"/>
              <a:t> de </a:t>
            </a:r>
            <a:r>
              <a:rPr lang="en-US" u="none" err="1"/>
              <a:t>recuparación</a:t>
            </a:r>
            <a:r>
              <a:rPr lang="en-US" u="none"/>
              <a:t> de </a:t>
            </a:r>
            <a:r>
              <a:rPr lang="en-US" u="none" err="1"/>
              <a:t>datos</a:t>
            </a:r>
            <a:r>
              <a:rPr lang="en-US" u="none"/>
              <a:t> del IRS y para </a:t>
            </a:r>
            <a:r>
              <a:rPr lang="en-US" u="none" err="1"/>
              <a:t>firmar</a:t>
            </a:r>
            <a:r>
              <a:rPr lang="en-US" u="none"/>
              <a:t> y </a:t>
            </a:r>
            <a:r>
              <a:rPr lang="en-US" u="none" err="1"/>
              <a:t>enviar</a:t>
            </a:r>
            <a:r>
              <a:rPr lang="en-US" u="none"/>
              <a:t> </a:t>
            </a:r>
            <a:r>
              <a:rPr lang="en-US" u="none" err="1"/>
              <a:t>el</a:t>
            </a:r>
            <a:r>
              <a:rPr lang="en-US" u="none"/>
              <a:t> FASFA.</a:t>
            </a:r>
          </a:p>
          <a:p>
            <a:endParaRPr lang="en-US" u="none"/>
          </a:p>
          <a:p>
            <a:r>
              <a:rPr lang="en-US" u="sng"/>
              <a:t>FSA ID – The First Step to the FAFSA </a:t>
            </a:r>
          </a:p>
          <a:p>
            <a:r>
              <a:rPr lang="en-US" u="sng"/>
              <a:t>Social Security Numb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mj-lt"/>
              </a:rPr>
              <a:t>Their own mobile phone number and/or email address</a:t>
            </a:r>
            <a:endParaRPr lang="en-US" u="sng"/>
          </a:p>
          <a:p>
            <a:endParaRPr lang="en-US"/>
          </a:p>
          <a:p>
            <a:r>
              <a:rPr lang="en-US"/>
              <a:t>https://studentaid.gov/fsa-id/create-account/launch</a:t>
            </a:r>
            <a:endParaRPr lang="en-US" u="none" baseline="0"/>
          </a:p>
          <a:p>
            <a:r>
              <a:rPr lang="en-US" u="none" baseline="0"/>
              <a:t>If the filer uses the SSN, DOB and Name to access the FAFSA, they will be asked to enter the FSA ID to use the IRS data retrieval tool and to sign and submit the FAFSA. </a:t>
            </a:r>
          </a:p>
        </p:txBody>
      </p:sp>
      <p:sp>
        <p:nvSpPr>
          <p:cNvPr id="4" name="Slide Number Placeholder 3"/>
          <p:cNvSpPr>
            <a:spLocks noGrp="1"/>
          </p:cNvSpPr>
          <p:nvPr>
            <p:ph type="sldNum" sz="quarter" idx="10"/>
          </p:nvPr>
        </p:nvSpPr>
        <p:spPr/>
        <p:txBody>
          <a:bodyPr/>
          <a:lstStyle/>
          <a:p>
            <a:fld id="{ED41BFE1-0E4B-4C42-9FD6-E1DF42D0E748}" type="slidenum">
              <a:rPr lang="en-US" smtClean="0"/>
              <a:t>22</a:t>
            </a:fld>
            <a:endParaRPr lang="en-US"/>
          </a:p>
        </p:txBody>
      </p:sp>
    </p:spTree>
    <p:extLst>
      <p:ext uri="{BB962C8B-B14F-4D97-AF65-F5344CB8AC3E}">
        <p14:creationId xmlns:p14="http://schemas.microsoft.com/office/powerpoint/2010/main" val="16654507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quí está el sitio web de la </a:t>
            </a:r>
            <a:r>
              <a:rPr lang="es-ES"/>
              <a:t>Solicitud de Ayuda Financiera del Estado de Washington (WASFA) https://wsac.wa.gov/wasfa</a:t>
            </a:r>
            <a:endParaRPr lang="en-US"/>
          </a:p>
          <a:p>
            <a:endParaRPr lang="en-US"/>
          </a:p>
          <a:p>
            <a:r>
              <a:rPr lang="en-US"/>
              <a:t>Here is the </a:t>
            </a:r>
            <a:r>
              <a:rPr lang="en-US" sz="1200"/>
              <a:t>Washington Application for State Financial Aid (WASFA) application site </a:t>
            </a:r>
            <a:r>
              <a:rPr lang="en-US"/>
              <a:t>https://wsac.wa.gov/wasfa</a:t>
            </a:r>
          </a:p>
        </p:txBody>
      </p:sp>
      <p:sp>
        <p:nvSpPr>
          <p:cNvPr id="4" name="Slide Number Placeholder 3"/>
          <p:cNvSpPr>
            <a:spLocks noGrp="1"/>
          </p:cNvSpPr>
          <p:nvPr>
            <p:ph type="sldNum" sz="quarter" idx="5"/>
          </p:nvPr>
        </p:nvSpPr>
        <p:spPr/>
        <p:txBody>
          <a:bodyPr/>
          <a:lstStyle/>
          <a:p>
            <a:fld id="{F183822A-29A8-4DE4-8EB5-04095DD45EA7}" type="slidenum">
              <a:rPr lang="en-US" smtClean="0"/>
              <a:t>23</a:t>
            </a:fld>
            <a:endParaRPr lang="en-US"/>
          </a:p>
        </p:txBody>
      </p:sp>
    </p:spTree>
    <p:extLst>
      <p:ext uri="{BB962C8B-B14F-4D97-AF65-F5344CB8AC3E}">
        <p14:creationId xmlns:p14="http://schemas.microsoft.com/office/powerpoint/2010/main" val="8529141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u="none"/>
              <a:t>Crear una cuenta de Solicitud de Ayuda Financiera Estatal de Washington (WASFA) es el primer paso para presentar la solicitud. Los estudiantes pueden crear su cuenta yendo a https://wsac.wa.gov/wasfa</a:t>
            </a:r>
          </a:p>
          <a:p>
            <a:endParaRPr lang="en-US" u="none"/>
          </a:p>
          <a:p>
            <a:r>
              <a:rPr lang="en-US" u="sng"/>
              <a:t>WASFA Account Creation – The First Step to the WASFA </a:t>
            </a:r>
          </a:p>
          <a:p>
            <a:r>
              <a:rPr lang="en-US" u="sng"/>
              <a:t>You will need your own email addr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mj-lt"/>
              </a:rPr>
              <a:t>The WASFA is available in English and Spanish</a:t>
            </a:r>
          </a:p>
          <a:p>
            <a:r>
              <a:rPr lang="en-US" u="sng"/>
              <a:t>You will need internet access</a:t>
            </a:r>
          </a:p>
          <a:p>
            <a:endParaRPr lang="en-US"/>
          </a:p>
          <a:p>
            <a:r>
              <a:rPr lang="en-US"/>
              <a:t>Creating a </a:t>
            </a:r>
            <a:r>
              <a:rPr lang="en-US" sz="1200"/>
              <a:t>Washington Application for State Financial Aid (WASFA) account is the first step to applying.  Students can create their account by going to </a:t>
            </a:r>
            <a:r>
              <a:rPr lang="en-US"/>
              <a:t>https://wsac.wa.gov/wasfa</a:t>
            </a:r>
          </a:p>
        </p:txBody>
      </p:sp>
      <p:sp>
        <p:nvSpPr>
          <p:cNvPr id="4" name="Slide Number Placeholder 3"/>
          <p:cNvSpPr>
            <a:spLocks noGrp="1"/>
          </p:cNvSpPr>
          <p:nvPr>
            <p:ph type="sldNum" sz="quarter" idx="5"/>
          </p:nvPr>
        </p:nvSpPr>
        <p:spPr/>
        <p:txBody>
          <a:bodyPr/>
          <a:lstStyle/>
          <a:p>
            <a:fld id="{F183822A-29A8-4DE4-8EB5-04095DD45EA7}" type="slidenum">
              <a:rPr lang="en-US" smtClean="0"/>
              <a:t>24</a:t>
            </a:fld>
            <a:endParaRPr lang="en-US"/>
          </a:p>
        </p:txBody>
      </p:sp>
    </p:spTree>
    <p:extLst>
      <p:ext uri="{BB962C8B-B14F-4D97-AF65-F5344CB8AC3E}">
        <p14:creationId xmlns:p14="http://schemas.microsoft.com/office/powerpoint/2010/main" val="8416598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s-ES"/>
            </a:br>
            <a:r>
              <a:rPr lang="es-ES" b="0" i="0">
                <a:solidFill>
                  <a:srgbClr val="202124"/>
                </a:solidFill>
                <a:effectLst/>
                <a:latin typeface="Roboto" panose="02000000000000000000" pitchFamily="2" charset="0"/>
              </a:rPr>
              <a:t>Estos son los criterios para el estatus de estudiante independiente. Si los estudiantes no cumplen con los requisitos enumerados en la columna de la derecha, lo más probable es que se les considere estudiantes dependientes para recibir ayuda financiera.</a:t>
            </a:r>
          </a:p>
          <a:p>
            <a:endParaRPr lang="en-US" u="sng"/>
          </a:p>
          <a:p>
            <a:r>
              <a:rPr lang="en-US" u="sng"/>
              <a:t> a Student Dependent or Independent* </a:t>
            </a:r>
          </a:p>
          <a:p>
            <a:r>
              <a:rPr lang="en-US" u="sng"/>
              <a:t>Dependent Student</a:t>
            </a:r>
          </a:p>
          <a:p>
            <a:r>
              <a:rPr lang="en-US" u="sng"/>
              <a:t>Requires Parent Information</a:t>
            </a:r>
          </a:p>
          <a:p>
            <a:r>
              <a:rPr lang="en-US" u="sng"/>
              <a:t>Independent Student</a:t>
            </a:r>
          </a:p>
          <a:p>
            <a:r>
              <a:rPr lang="en-US" u="sng"/>
              <a:t>Does Not Require Parent Information</a:t>
            </a:r>
          </a:p>
          <a:p>
            <a:pPr marL="0" indent="0">
              <a:spcBef>
                <a:spcPts val="0"/>
              </a:spcBef>
              <a:buNone/>
            </a:pPr>
            <a:r>
              <a:rPr lang="en-US" u="sng"/>
              <a:t>An independent student is one of the following: </a:t>
            </a:r>
          </a:p>
          <a:p>
            <a:pPr>
              <a:spcBef>
                <a:spcPts val="0"/>
              </a:spcBef>
            </a:pPr>
            <a:r>
              <a:rPr lang="en-US" u="sng"/>
              <a:t>at least 24 years old</a:t>
            </a:r>
          </a:p>
          <a:p>
            <a:pPr>
              <a:spcBef>
                <a:spcPts val="0"/>
              </a:spcBef>
            </a:pPr>
            <a:r>
              <a:rPr lang="en-US" u="sng"/>
              <a:t>married</a:t>
            </a:r>
          </a:p>
          <a:p>
            <a:pPr>
              <a:spcBef>
                <a:spcPts val="0"/>
              </a:spcBef>
            </a:pPr>
            <a:r>
              <a:rPr lang="en-US" u="sng"/>
              <a:t>a graduate or professional student</a:t>
            </a:r>
          </a:p>
          <a:p>
            <a:pPr>
              <a:spcBef>
                <a:spcPts val="0"/>
              </a:spcBef>
            </a:pPr>
            <a:r>
              <a:rPr lang="en-US" u="sng"/>
              <a:t>a veteran</a:t>
            </a:r>
          </a:p>
          <a:p>
            <a:pPr>
              <a:spcBef>
                <a:spcPts val="0"/>
              </a:spcBef>
            </a:pPr>
            <a:r>
              <a:rPr lang="en-US" u="sng"/>
              <a:t>a member of the armed forces</a:t>
            </a:r>
          </a:p>
          <a:p>
            <a:pPr>
              <a:spcBef>
                <a:spcPts val="0"/>
              </a:spcBef>
            </a:pPr>
            <a:r>
              <a:rPr lang="en-US" u="sng"/>
              <a:t>an orphan</a:t>
            </a:r>
          </a:p>
          <a:p>
            <a:pPr>
              <a:spcBef>
                <a:spcPts val="0"/>
              </a:spcBef>
            </a:pPr>
            <a:r>
              <a:rPr lang="en-US" u="sng"/>
              <a:t>a ward of the court</a:t>
            </a:r>
          </a:p>
          <a:p>
            <a:pPr>
              <a:spcBef>
                <a:spcPts val="0"/>
              </a:spcBef>
            </a:pPr>
            <a:r>
              <a:rPr lang="en-US" u="sng"/>
              <a:t>someone with legal dependents other than a spouse</a:t>
            </a:r>
          </a:p>
          <a:p>
            <a:pPr>
              <a:spcBef>
                <a:spcPts val="0"/>
              </a:spcBef>
            </a:pPr>
            <a:r>
              <a:rPr lang="en-US" u="sng"/>
              <a:t>an emancipated minor</a:t>
            </a:r>
          </a:p>
          <a:p>
            <a:pPr>
              <a:spcBef>
                <a:spcPts val="0"/>
              </a:spcBef>
            </a:pPr>
            <a:r>
              <a:rPr lang="en-US" u="sng"/>
              <a:t>someone who is homeless or at risk of becoming homeless and is self supporting. </a:t>
            </a:r>
          </a:p>
          <a:p>
            <a:endParaRPr lang="en-US"/>
          </a:p>
          <a:p>
            <a:r>
              <a:rPr lang="en-US"/>
              <a:t>These are the criteria for independent student status.  If students do not meet the requirements listed in right column they most likely will be considered a dependent student for financial aid.  </a:t>
            </a:r>
          </a:p>
        </p:txBody>
      </p:sp>
      <p:sp>
        <p:nvSpPr>
          <p:cNvPr id="4" name="Slide Number Placeholder 3"/>
          <p:cNvSpPr>
            <a:spLocks noGrp="1"/>
          </p:cNvSpPr>
          <p:nvPr>
            <p:ph type="sldNum" sz="quarter" idx="5"/>
          </p:nvPr>
        </p:nvSpPr>
        <p:spPr/>
        <p:txBody>
          <a:bodyPr/>
          <a:lstStyle/>
          <a:p>
            <a:fld id="{F183822A-29A8-4DE4-8EB5-04095DD45EA7}" type="slidenum">
              <a:rPr lang="en-US" smtClean="0"/>
              <a:t>25</a:t>
            </a:fld>
            <a:endParaRPr lang="en-US"/>
          </a:p>
        </p:txBody>
      </p:sp>
    </p:spTree>
    <p:extLst>
      <p:ext uri="{BB962C8B-B14F-4D97-AF65-F5344CB8AC3E}">
        <p14:creationId xmlns:p14="http://schemas.microsoft.com/office/powerpoint/2010/main" val="409862115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u="none"/>
              <a:t>Aquí tenemos una lista de los documentos que los estudiantes y los padres necesitarán para solicitar ayuda financiera.</a:t>
            </a:r>
          </a:p>
          <a:p>
            <a:endParaRPr lang="en-US" u="none"/>
          </a:p>
          <a:p>
            <a:r>
              <a:rPr lang="en-US" u="sng"/>
              <a:t>What Do I Need to Apply for Financial Aid</a:t>
            </a:r>
          </a:p>
          <a:p>
            <a:r>
              <a:rPr lang="en-US" u="sng"/>
              <a:t>Your driver’s license or state ID. (If you have one)</a:t>
            </a:r>
          </a:p>
          <a:p>
            <a:r>
              <a:rPr lang="en-US" u="sng"/>
              <a:t>Your income information</a:t>
            </a:r>
          </a:p>
          <a:p>
            <a:r>
              <a:rPr lang="en-US" u="sng"/>
              <a:t>This includes bank statements, a W-2 or pay stub, and a 2022 tax return if applicable.</a:t>
            </a:r>
          </a:p>
          <a:p>
            <a:r>
              <a:rPr lang="en-US" u="sng"/>
              <a:t>Your parent most likely will need to provide information, if you are 24 or younger. </a:t>
            </a:r>
          </a:p>
          <a:p>
            <a:r>
              <a:rPr lang="en-US" u="sng"/>
              <a:t>This includes bank statements, child support statements, W-2 or pay stubs, and a 2021 tax return if applicable.</a:t>
            </a:r>
          </a:p>
          <a:p>
            <a:r>
              <a:rPr lang="en-US" u="sng"/>
              <a:t>FAFSA Filers Should Also Have Access to: </a:t>
            </a:r>
          </a:p>
          <a:p>
            <a:r>
              <a:rPr lang="en-US" u="sng"/>
              <a:t>Your Social Security Card or green card. </a:t>
            </a:r>
          </a:p>
          <a:p>
            <a:r>
              <a:rPr lang="en-US" u="sng"/>
              <a:t>One parent’s Social Security Number (if they have one).</a:t>
            </a:r>
          </a:p>
          <a:p>
            <a:endParaRPr lang="en-US"/>
          </a:p>
          <a:p>
            <a:r>
              <a:rPr lang="en-US"/>
              <a:t>Here us a list of the documents students and parents will need to apply for financial aid.</a:t>
            </a:r>
          </a:p>
        </p:txBody>
      </p:sp>
      <p:sp>
        <p:nvSpPr>
          <p:cNvPr id="4" name="Slide Number Placeholder 3"/>
          <p:cNvSpPr>
            <a:spLocks noGrp="1"/>
          </p:cNvSpPr>
          <p:nvPr>
            <p:ph type="sldNum" sz="quarter" idx="5"/>
          </p:nvPr>
        </p:nvSpPr>
        <p:spPr/>
        <p:txBody>
          <a:bodyPr/>
          <a:lstStyle/>
          <a:p>
            <a:fld id="{F183822A-29A8-4DE4-8EB5-04095DD45EA7}" type="slidenum">
              <a:rPr lang="en-US" smtClean="0"/>
              <a:t>26</a:t>
            </a:fld>
            <a:endParaRPr lang="en-US"/>
          </a:p>
        </p:txBody>
      </p:sp>
    </p:spTree>
    <p:extLst>
      <p:ext uri="{BB962C8B-B14F-4D97-AF65-F5344CB8AC3E}">
        <p14:creationId xmlns:p14="http://schemas.microsoft.com/office/powerpoint/2010/main" val="33216975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Este es un perfil adicional que utilizan algunas universidades para otorgar ayudas institucionales. El perfil CSS es gratuito para estudiantes universitarios nacionales cuyo ingreso familiar puede ser de hasta $100,000. La tarifa de solicitud inicial es de $25. Los informes adicionales cuestan $16.</a:t>
            </a:r>
            <a:endParaRPr lang="en-US"/>
          </a:p>
          <a:p>
            <a:endParaRPr lang="en-US"/>
          </a:p>
          <a:p>
            <a:r>
              <a:rPr lang="en-US"/>
              <a:t>Additional profile that some colleges use to award institutional aid.</a:t>
            </a:r>
          </a:p>
          <a:p>
            <a:r>
              <a:rPr lang="en-US"/>
              <a:t>The CSS Profile is free for domestic college students whose household income is up to $100,000. The initial application fee is $25. Additional reports are $16.</a:t>
            </a:r>
          </a:p>
        </p:txBody>
      </p:sp>
      <p:sp>
        <p:nvSpPr>
          <p:cNvPr id="4" name="Slide Number Placeholder 3"/>
          <p:cNvSpPr>
            <a:spLocks noGrp="1"/>
          </p:cNvSpPr>
          <p:nvPr>
            <p:ph type="sldNum" sz="quarter" idx="5"/>
          </p:nvPr>
        </p:nvSpPr>
        <p:spPr/>
        <p:txBody>
          <a:bodyPr/>
          <a:lstStyle/>
          <a:p>
            <a:fld id="{F183822A-29A8-4DE4-8EB5-04095DD45EA7}" type="slidenum">
              <a:rPr lang="en-US" smtClean="0"/>
              <a:t>27</a:t>
            </a:fld>
            <a:endParaRPr lang="en-US"/>
          </a:p>
        </p:txBody>
      </p:sp>
    </p:spTree>
    <p:extLst>
      <p:ext uri="{BB962C8B-B14F-4D97-AF65-F5344CB8AC3E}">
        <p14:creationId xmlns:p14="http://schemas.microsoft.com/office/powerpoint/2010/main" val="9532484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u="none"/>
              <a:t>Este es el cronograma de ayuda financiera. Algunos de estos pasos se pueden tomar al mismo tiempo.</a:t>
            </a:r>
          </a:p>
          <a:p>
            <a:endParaRPr lang="en-US" u="none"/>
          </a:p>
          <a:p>
            <a:r>
              <a:rPr lang="en-US" u="sng"/>
              <a:t>Financial Aid Timeline</a:t>
            </a:r>
          </a:p>
          <a:p>
            <a:r>
              <a:rPr lang="en-US" u="sng"/>
              <a:t>Gather required documents </a:t>
            </a:r>
          </a:p>
          <a:p>
            <a:r>
              <a:rPr lang="en-US" u="sng"/>
              <a:t>Create an FSA ID or WASFA account (only created once)</a:t>
            </a:r>
          </a:p>
          <a:p>
            <a:r>
              <a:rPr lang="en-US" u="sng"/>
              <a:t>FAFSA &amp; WASFA open in December</a:t>
            </a:r>
          </a:p>
          <a:p>
            <a:r>
              <a:rPr lang="en-US" u="sng"/>
              <a:t>Students apply for financial aid and admissions</a:t>
            </a:r>
          </a:p>
          <a:p>
            <a:r>
              <a:rPr lang="en-US" u="sng"/>
              <a:t>Follow up with colleges for any additional request for information</a:t>
            </a:r>
          </a:p>
          <a:p>
            <a:r>
              <a:rPr lang="en-US" u="sng"/>
              <a:t>Review your award letters and accept your aid.</a:t>
            </a:r>
          </a:p>
          <a:p>
            <a:endParaRPr lang="en-US"/>
          </a:p>
          <a:p>
            <a:r>
              <a:rPr lang="en-US"/>
              <a:t>This is the financial aid timeline.  Some of these steps can be taken at the same time.  </a:t>
            </a:r>
          </a:p>
        </p:txBody>
      </p:sp>
      <p:sp>
        <p:nvSpPr>
          <p:cNvPr id="4" name="Slide Number Placeholder 3"/>
          <p:cNvSpPr>
            <a:spLocks noGrp="1"/>
          </p:cNvSpPr>
          <p:nvPr>
            <p:ph type="sldNum" sz="quarter" idx="5"/>
          </p:nvPr>
        </p:nvSpPr>
        <p:spPr/>
        <p:txBody>
          <a:bodyPr/>
          <a:lstStyle/>
          <a:p>
            <a:fld id="{F183822A-29A8-4DE4-8EB5-04095DD45EA7}" type="slidenum">
              <a:rPr lang="en-US" smtClean="0"/>
              <a:t>28</a:t>
            </a:fld>
            <a:endParaRPr lang="en-US"/>
          </a:p>
        </p:txBody>
      </p:sp>
    </p:spTree>
    <p:extLst>
      <p:ext uri="{BB962C8B-B14F-4D97-AF65-F5344CB8AC3E}">
        <p14:creationId xmlns:p14="http://schemas.microsoft.com/office/powerpoint/2010/main" val="14189837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r>
              <a:rPr lang="es-ES">
                <a:solidFill>
                  <a:schemeClr val="bg2">
                    <a:lumMod val="50000"/>
                  </a:schemeClr>
                </a:solidFill>
              </a:rPr>
              <a:t>Este año, la FAFSA y WASFA 2024-25 estarán disponibles en diciembre. La fecha de liberación real será proporcionada por la Ayuda Federal para Estudiantes. Esto afectará a la clase de 2024 en cuando soliciten la FAFSA o WASFA 2024-25. Para 2025-26 y años posteriores, FAFSA y WASFA estarán disponibles en octubre.</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a:solidFill>
                <a:schemeClr val="bg2">
                  <a:lumMod val="50000"/>
                </a:schemeClr>
              </a:solidFill>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a:solidFill>
                  <a:schemeClr val="bg2">
                    <a:lumMod val="50000"/>
                  </a:schemeClr>
                </a:solidFill>
              </a:rPr>
              <a:t>This year </a:t>
            </a:r>
            <a:r>
              <a:rPr lang="en-US" b="0" i="0">
                <a:solidFill>
                  <a:schemeClr val="bg2">
                    <a:lumMod val="50000"/>
                  </a:schemeClr>
                </a:solidFill>
                <a:latin typeface="+mj-lt"/>
              </a:rPr>
              <a:t>t</a:t>
            </a:r>
            <a:r>
              <a:rPr lang="en-US" b="0" i="0">
                <a:latin typeface="+mj-lt"/>
              </a:rPr>
              <a:t>he 2024-25 FAFSA &amp; WASFA will be available in December.  The actual release date will be provided by Federal Student Aid.  This will impact the class of 2024 when they apply for the 2024-25 FAFSA or WASFA.  For 2025-26 and beyond FAFSA &amp; WASFA will be available in October.</a:t>
            </a:r>
            <a:endParaRPr lang="en-US">
              <a:latin typeface="+mj-lt"/>
            </a:endParaRPr>
          </a:p>
          <a:p>
            <a:pPr defTabSz="931774">
              <a:defRPr/>
            </a:pPr>
            <a:endParaRPr lang="en-US">
              <a:solidFill>
                <a:schemeClr val="bg2">
                  <a:lumMod val="50000"/>
                </a:schemeClr>
              </a:solidFill>
            </a:endParaRPr>
          </a:p>
        </p:txBody>
      </p:sp>
      <p:sp>
        <p:nvSpPr>
          <p:cNvPr id="4" name="Slide Number Placeholder 3"/>
          <p:cNvSpPr>
            <a:spLocks noGrp="1"/>
          </p:cNvSpPr>
          <p:nvPr>
            <p:ph type="sldNum" sz="quarter" idx="10"/>
          </p:nvPr>
        </p:nvSpPr>
        <p:spPr/>
        <p:txBody>
          <a:bodyPr/>
          <a:lstStyle/>
          <a:p>
            <a:fld id="{77542409-6A04-4DC6-AC3A-D3758287A8F2}" type="slidenum">
              <a:rPr lang="en-US" smtClean="0"/>
              <a:t>29</a:t>
            </a:fld>
            <a:endParaRPr lang="en-US"/>
          </a:p>
        </p:txBody>
      </p:sp>
    </p:spTree>
    <p:extLst>
      <p:ext uri="{BB962C8B-B14F-4D97-AF65-F5344CB8AC3E}">
        <p14:creationId xmlns:p14="http://schemas.microsoft.com/office/powerpoint/2010/main" val="1455179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a:t>What Will I Learn Today?</a:t>
            </a:r>
          </a:p>
          <a:p>
            <a:endParaRPr lang="en-US" sz="1200" u="sng"/>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What is Financial Ai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When You Should Apply for Financial Ai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How to Apply for Financial Aid</a:t>
            </a:r>
            <a:endParaRPr lang="en-US" u="sng"/>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Scholarship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Help and Resources</a:t>
            </a:r>
            <a:endParaRPr lang="en-US" u="sng"/>
          </a:p>
          <a:p>
            <a:endParaRPr lang="en-US"/>
          </a:p>
        </p:txBody>
      </p:sp>
      <p:sp>
        <p:nvSpPr>
          <p:cNvPr id="4" name="Slide Number Placeholder 3"/>
          <p:cNvSpPr>
            <a:spLocks noGrp="1"/>
          </p:cNvSpPr>
          <p:nvPr>
            <p:ph type="sldNum" sz="quarter" idx="10"/>
          </p:nvPr>
        </p:nvSpPr>
        <p:spPr/>
        <p:txBody>
          <a:bodyPr/>
          <a:lstStyle/>
          <a:p>
            <a:fld id="{1B9A179D-2D27-49E2-B022-8EDDA2EFE682}" type="slidenum">
              <a:rPr lang="en-US" smtClean="0"/>
              <a:t>3</a:t>
            </a:fld>
            <a:endParaRPr lang="en-US"/>
          </a:p>
        </p:txBody>
      </p:sp>
    </p:spTree>
    <p:extLst>
      <p:ext uri="{BB962C8B-B14F-4D97-AF65-F5344CB8AC3E}">
        <p14:creationId xmlns:p14="http://schemas.microsoft.com/office/powerpoint/2010/main" val="20579062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Estos son los </a:t>
            </a:r>
            <a:r>
              <a:rPr lang="es-ES" err="1"/>
              <a:t>siguentes</a:t>
            </a:r>
            <a:r>
              <a:rPr lang="es-ES"/>
              <a:t> pasos para la clase de 2024</a:t>
            </a:r>
          </a:p>
          <a:p>
            <a:endParaRPr lang="en-US"/>
          </a:p>
          <a:p>
            <a:r>
              <a:rPr lang="en-US" u="sng"/>
              <a:t>Explore Your Options</a:t>
            </a:r>
          </a:p>
          <a:p>
            <a:r>
              <a:rPr lang="en-US" u="sng"/>
              <a:t>Explore your post secondary options using your high school and beyond plan.</a:t>
            </a:r>
          </a:p>
          <a:p>
            <a:r>
              <a:rPr lang="en-US" u="sng"/>
              <a:t>Talk to your counselor to make sure you are on track for graduation.</a:t>
            </a:r>
          </a:p>
          <a:p>
            <a:r>
              <a:rPr lang="en-US" u="sng"/>
              <a:t>Determine Which Financial Aid Application To Use</a:t>
            </a:r>
          </a:p>
          <a:p>
            <a:r>
              <a:rPr lang="en-US" u="sng"/>
              <a:t>If you are not sure which application to complete go to https://wsac.wa.gov/WASFAelig</a:t>
            </a:r>
          </a:p>
          <a:p>
            <a:r>
              <a:rPr lang="en-US" u="sng"/>
              <a:t>Create an FSA ID or WASFA Account</a:t>
            </a:r>
          </a:p>
          <a:p>
            <a:r>
              <a:rPr lang="en-US" u="sng"/>
              <a:t>You can create an FSA ID by going to https://fsaid.ed.gov/npas/index.htm</a:t>
            </a:r>
          </a:p>
          <a:p>
            <a:r>
              <a:rPr lang="en-US" u="sng"/>
              <a:t>You can create a WASFA account by going to https://wsac.wa.gov/WASFAelig</a:t>
            </a:r>
          </a:p>
          <a:p>
            <a:r>
              <a:rPr lang="en-US" u="sng"/>
              <a:t>Complete your 2024-25 application starting December 2023</a:t>
            </a:r>
          </a:p>
          <a:p>
            <a:endParaRPr lang="en-US"/>
          </a:p>
          <a:p>
            <a:r>
              <a:rPr lang="en-US"/>
              <a:t>Here are the next steps for the class of 2024</a:t>
            </a:r>
          </a:p>
        </p:txBody>
      </p:sp>
      <p:sp>
        <p:nvSpPr>
          <p:cNvPr id="4" name="Slide Number Placeholder 3"/>
          <p:cNvSpPr>
            <a:spLocks noGrp="1"/>
          </p:cNvSpPr>
          <p:nvPr>
            <p:ph type="sldNum" sz="quarter" idx="10"/>
          </p:nvPr>
        </p:nvSpPr>
        <p:spPr/>
        <p:txBody>
          <a:bodyPr/>
          <a:lstStyle/>
          <a:p>
            <a:fld id="{564759F7-F910-4071-BE29-5B51C8545653}" type="slidenum">
              <a:rPr lang="en-US" smtClean="0"/>
              <a:t>30</a:t>
            </a:fld>
            <a:endParaRPr lang="en-US"/>
          </a:p>
        </p:txBody>
      </p:sp>
    </p:spTree>
    <p:extLst>
      <p:ext uri="{BB962C8B-B14F-4D97-AF65-F5344CB8AC3E}">
        <p14:creationId xmlns:p14="http://schemas.microsoft.com/office/powerpoint/2010/main" val="52386317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Los estudiantes pueden encontrar más información sobre la educación después de la escuela preparatoria en nuestra página del plan de acción.</a:t>
            </a:r>
          </a:p>
          <a:p>
            <a:endParaRPr lang="en-US"/>
          </a:p>
          <a:p>
            <a:r>
              <a:rPr lang="en-US"/>
              <a:t>Students can find more information about education after high school at our action plan page.</a:t>
            </a:r>
          </a:p>
          <a:p>
            <a:endParaRPr lang="en-US"/>
          </a:p>
          <a:p>
            <a:r>
              <a:rPr lang="en-US" u="sng"/>
              <a:t>One-stop site for juniors and seniors </a:t>
            </a:r>
          </a:p>
          <a:p>
            <a:r>
              <a:rPr lang="en-US" u="sng"/>
              <a:t>Career exploration resources to application information</a:t>
            </a:r>
          </a:p>
          <a:p>
            <a:endParaRPr lang="en-US"/>
          </a:p>
        </p:txBody>
      </p:sp>
      <p:sp>
        <p:nvSpPr>
          <p:cNvPr id="4" name="Slide Number Placeholder 3"/>
          <p:cNvSpPr>
            <a:spLocks noGrp="1"/>
          </p:cNvSpPr>
          <p:nvPr>
            <p:ph type="sldNum" sz="quarter" idx="5"/>
          </p:nvPr>
        </p:nvSpPr>
        <p:spPr/>
        <p:txBody>
          <a:bodyPr/>
          <a:lstStyle/>
          <a:p>
            <a:fld id="{1B9A179D-2D27-49E2-B022-8EDDA2EFE682}" type="slidenum">
              <a:rPr lang="en-US" smtClean="0"/>
              <a:t>31</a:t>
            </a:fld>
            <a:endParaRPr lang="en-US"/>
          </a:p>
        </p:txBody>
      </p:sp>
    </p:spTree>
    <p:extLst>
      <p:ext uri="{BB962C8B-B14F-4D97-AF65-F5344CB8AC3E}">
        <p14:creationId xmlns:p14="http://schemas.microsoft.com/office/powerpoint/2010/main" val="1614187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u="none"/>
              <a:t>Este libro de trabajo completo ayudará a sus estudiantes de tercer y último año a identificar sus objetivos del plan </a:t>
            </a:r>
            <a:r>
              <a:rPr lang="es-ES" sz="1200" u="none" err="1"/>
              <a:t>postpreparatorio</a:t>
            </a:r>
            <a:r>
              <a:rPr lang="es-ES" sz="1200" u="none"/>
              <a:t> con actividades útiles, así como también proporciona información crítica sobre los programas de admisión y ayuda financiera.</a:t>
            </a: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u="none"/>
              <a:t>El libro de trabajo de la Campaña del 12º Año se puede encontrar en https://gearup.wa.gov/sites/default/files/resources/2023%20Final%20Edit-12th%20Yr%20Workbook-Fillable%20PDF.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u="sng"/>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none"/>
              <a:t>12º= decimo Segun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u="sng"/>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t>Resource: 12</a:t>
            </a:r>
            <a:r>
              <a:rPr lang="en-US" sz="1200" u="sng" baseline="30000"/>
              <a:t>th</a:t>
            </a:r>
            <a:r>
              <a:rPr lang="en-US" sz="1200" u="sng"/>
              <a:t> Year Campaign Resources and Ev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mj-lt"/>
              </a:rPr>
              <a:t>Free virtual financial aid completion events to help you take the next step!</a:t>
            </a:r>
          </a:p>
          <a:p>
            <a:pPr marL="0" marR="0" lvl="0" indent="0" algn="l" defTabSz="914400" rtl="0" eaLnBrk="1" fontAlgn="auto" latinLnBrk="0" hangingPunct="1">
              <a:lnSpc>
                <a:spcPct val="100000"/>
              </a:lnSpc>
              <a:spcBef>
                <a:spcPts val="0"/>
              </a:spcBef>
              <a:spcAft>
                <a:spcPts val="0"/>
              </a:spcAft>
              <a:buClrTx/>
              <a:buSzTx/>
              <a:buFontTx/>
              <a:buNone/>
              <a:tabLst/>
              <a:defRPr/>
            </a:pPr>
            <a:r>
              <a:rPr lang="en-US" u="sng">
                <a:latin typeface="+mj-lt"/>
              </a:rPr>
              <a:t>Free resources that support you with financial aid, college admissions and more</a:t>
            </a:r>
            <a:endParaRPr lang="en-US" u="sng"/>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This comprehensive workbook will assist your juniors and seniors with identifying their postsecondary plan goals with useful activities as well as provides critical information around admission and financial aid progra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latin typeface="+mn-lt"/>
                <a:ea typeface="+mn-ea"/>
                <a:cs typeface="+mn-cs"/>
              </a:rPr>
              <a:t>The 12th Year Campaign workbook can be found at https://gearup.wa.gov/sites/default/files/resources/2023%20Final%20Edit-12th%20Yr%20Workbook-Fillable%20PDF.pdf</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10"/>
          </p:nvPr>
        </p:nvSpPr>
        <p:spPr/>
        <p:txBody>
          <a:bodyPr/>
          <a:lstStyle/>
          <a:p>
            <a:fld id="{92A7BBA6-D030-4F9F-B48E-2F48C8067771}" type="slidenum">
              <a:rPr lang="en-US" smtClean="0"/>
              <a:t>32</a:t>
            </a:fld>
            <a:endParaRPr lang="en-US"/>
          </a:p>
        </p:txBody>
      </p:sp>
    </p:spTree>
    <p:extLst>
      <p:ext uri="{BB962C8B-B14F-4D97-AF65-F5344CB8AC3E}">
        <p14:creationId xmlns:p14="http://schemas.microsoft.com/office/powerpoint/2010/main" val="36590198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a:t>El folleto o </a:t>
            </a:r>
            <a:r>
              <a:rPr lang="es-ES" sz="1200" err="1"/>
              <a:t>padlet</a:t>
            </a:r>
            <a:r>
              <a:rPr lang="es-ES" sz="1200"/>
              <a:t> son paneles informativos digitales.  Este </a:t>
            </a:r>
            <a:r>
              <a:rPr lang="es-ES" sz="1200" err="1"/>
              <a:t>padlet</a:t>
            </a:r>
            <a:r>
              <a:rPr lang="es-ES" sz="1200"/>
              <a:t> estudiantil tiene información para apoyar a los estudiantes mientras exploran la educación después de la escuela preparatoria.  Este </a:t>
            </a:r>
            <a:r>
              <a:rPr lang="es-ES" sz="1200" err="1"/>
              <a:t>padlet</a:t>
            </a:r>
            <a:r>
              <a:rPr lang="es-ES" sz="1200"/>
              <a:t> también incluye todos los enlaces a las solicitudes de ayuda financiera y dónde pueden encontrar apoyo para </a:t>
            </a:r>
            <a:r>
              <a:rPr lang="es-ES" sz="1200" err="1"/>
              <a:t>solicitrar</a:t>
            </a:r>
            <a:r>
              <a:rPr lang="es-ES" sz="1200"/>
              <a:t>.</a:t>
            </a:r>
            <a:endParaRPr lang="en-US" sz="1200"/>
          </a:p>
          <a:p>
            <a:endParaRPr lang="en-US" sz="1200"/>
          </a:p>
          <a:p>
            <a:r>
              <a:rPr lang="en-US" sz="1200"/>
              <a:t>Resource: Financial Aid Padlet For Students</a:t>
            </a:r>
            <a:endParaRPr lang="en-US"/>
          </a:p>
          <a:p>
            <a:r>
              <a:rPr lang="en-US" err="1"/>
              <a:t>Padlets</a:t>
            </a:r>
            <a:r>
              <a:rPr lang="en-US"/>
              <a:t> are digital information boards.  This student </a:t>
            </a:r>
            <a:r>
              <a:rPr lang="en-US" err="1"/>
              <a:t>padlet</a:t>
            </a:r>
            <a:r>
              <a:rPr lang="en-US"/>
              <a:t> has information to support them as they explore education after high school.  This </a:t>
            </a:r>
            <a:r>
              <a:rPr lang="en-US" err="1"/>
              <a:t>padlet</a:t>
            </a:r>
            <a:r>
              <a:rPr lang="en-US"/>
              <a:t> also includes all the links to financial aid applications and where they can find support applying.</a:t>
            </a:r>
          </a:p>
        </p:txBody>
      </p:sp>
      <p:sp>
        <p:nvSpPr>
          <p:cNvPr id="4" name="Slide Number Placeholder 3"/>
          <p:cNvSpPr>
            <a:spLocks noGrp="1"/>
          </p:cNvSpPr>
          <p:nvPr>
            <p:ph type="sldNum" sz="quarter" idx="10"/>
          </p:nvPr>
        </p:nvSpPr>
        <p:spPr/>
        <p:txBody>
          <a:bodyPr/>
          <a:lstStyle/>
          <a:p>
            <a:fld id="{ED41BFE1-0E4B-4C42-9FD6-E1DF42D0E748}" type="slidenum">
              <a:rPr lang="en-US" smtClean="0"/>
              <a:t>33</a:t>
            </a:fld>
            <a:endParaRPr lang="en-US"/>
          </a:p>
        </p:txBody>
      </p:sp>
    </p:spTree>
    <p:extLst>
      <p:ext uri="{BB962C8B-B14F-4D97-AF65-F5344CB8AC3E}">
        <p14:creationId xmlns:p14="http://schemas.microsoft.com/office/powerpoint/2010/main" val="5432111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ashington Financial Aid for Education and Training Videos</a:t>
            </a:r>
          </a:p>
          <a:p>
            <a:pPr marL="0" indent="0">
              <a:buNone/>
            </a:pPr>
            <a:r>
              <a:rPr lang="en-US" sz="1200">
                <a:latin typeface="+mj-lt"/>
              </a:rPr>
              <a:t>Informational videos about education after high school in the following languages:</a:t>
            </a:r>
          </a:p>
          <a:p>
            <a:pPr marL="0" indent="0">
              <a:buNone/>
            </a:pPr>
            <a:r>
              <a:rPr lang="en-US" sz="1200">
                <a:latin typeface="+mj-lt"/>
              </a:rPr>
              <a:t>•English</a:t>
            </a:r>
          </a:p>
          <a:p>
            <a:pPr marL="0" indent="0">
              <a:buNone/>
            </a:pPr>
            <a:r>
              <a:rPr lang="en-US" sz="1200">
                <a:latin typeface="+mj-lt"/>
              </a:rPr>
              <a:t>•Mandarin</a:t>
            </a:r>
          </a:p>
          <a:p>
            <a:pPr marL="0" indent="0">
              <a:buNone/>
            </a:pPr>
            <a:r>
              <a:rPr lang="en-US" sz="1200">
                <a:latin typeface="+mj-lt"/>
              </a:rPr>
              <a:t>•Russian</a:t>
            </a:r>
          </a:p>
          <a:p>
            <a:pPr marL="0" indent="0">
              <a:buNone/>
            </a:pPr>
            <a:r>
              <a:rPr lang="en-US" sz="1200">
                <a:latin typeface="+mj-lt"/>
              </a:rPr>
              <a:t>•Somali</a:t>
            </a:r>
          </a:p>
          <a:p>
            <a:pPr marL="0" indent="0">
              <a:buNone/>
            </a:pPr>
            <a:r>
              <a:rPr lang="en-US" sz="1200">
                <a:latin typeface="+mj-lt"/>
              </a:rPr>
              <a:t>•Spanish</a:t>
            </a:r>
          </a:p>
          <a:p>
            <a:pPr marL="0" indent="0">
              <a:buNone/>
            </a:pPr>
            <a:r>
              <a:rPr lang="en-US" sz="1200">
                <a:latin typeface="+mj-lt"/>
              </a:rPr>
              <a:t>•Tagalog</a:t>
            </a:r>
          </a:p>
          <a:p>
            <a:pPr marL="0" indent="0">
              <a:buNone/>
            </a:pPr>
            <a:r>
              <a:rPr lang="en-US" sz="1200">
                <a:latin typeface="+mj-lt"/>
              </a:rPr>
              <a:t>•Vietnamese</a:t>
            </a:r>
            <a:endParaRPr lang="en-US"/>
          </a:p>
        </p:txBody>
      </p:sp>
      <p:sp>
        <p:nvSpPr>
          <p:cNvPr id="4" name="Slide Number Placeholder 3"/>
          <p:cNvSpPr>
            <a:spLocks noGrp="1"/>
          </p:cNvSpPr>
          <p:nvPr>
            <p:ph type="sldNum" sz="quarter" idx="5"/>
          </p:nvPr>
        </p:nvSpPr>
        <p:spPr/>
        <p:txBody>
          <a:bodyPr/>
          <a:lstStyle/>
          <a:p>
            <a:fld id="{F183822A-29A8-4DE4-8EB5-04095DD45EA7}" type="slidenum">
              <a:rPr lang="en-US" smtClean="0"/>
              <a:t>34</a:t>
            </a:fld>
            <a:endParaRPr lang="en-US"/>
          </a:p>
        </p:txBody>
      </p:sp>
    </p:spTree>
    <p:extLst>
      <p:ext uri="{BB962C8B-B14F-4D97-AF65-F5344CB8AC3E}">
        <p14:creationId xmlns:p14="http://schemas.microsoft.com/office/powerpoint/2010/main" val="3468553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Here to Help!</a:t>
            </a:r>
          </a:p>
        </p:txBody>
      </p:sp>
      <p:sp>
        <p:nvSpPr>
          <p:cNvPr id="4" name="Slide Number Placeholder 3"/>
          <p:cNvSpPr>
            <a:spLocks noGrp="1"/>
          </p:cNvSpPr>
          <p:nvPr>
            <p:ph type="sldNum" sz="quarter" idx="5"/>
          </p:nvPr>
        </p:nvSpPr>
        <p:spPr/>
        <p:txBody>
          <a:bodyPr/>
          <a:lstStyle/>
          <a:p>
            <a:fld id="{F183822A-29A8-4DE4-8EB5-04095DD45EA7}" type="slidenum">
              <a:rPr lang="en-US" smtClean="0"/>
              <a:t>35</a:t>
            </a:fld>
            <a:endParaRPr lang="en-US"/>
          </a:p>
        </p:txBody>
      </p:sp>
    </p:spTree>
    <p:extLst>
      <p:ext uri="{BB962C8B-B14F-4D97-AF65-F5344CB8AC3E}">
        <p14:creationId xmlns:p14="http://schemas.microsoft.com/office/powerpoint/2010/main" val="172796911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183822A-29A8-4DE4-8EB5-04095DD45EA7}" type="slidenum">
              <a:rPr lang="en-US" smtClean="0"/>
              <a:t>36</a:t>
            </a:fld>
            <a:endParaRPr lang="en-US"/>
          </a:p>
        </p:txBody>
      </p:sp>
    </p:spTree>
    <p:extLst>
      <p:ext uri="{BB962C8B-B14F-4D97-AF65-F5344CB8AC3E}">
        <p14:creationId xmlns:p14="http://schemas.microsoft.com/office/powerpoint/2010/main" val="33920652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a:t>What is Financial Ai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solidFill>
                  <a:schemeClr val="bg1"/>
                </a:solidFill>
                <a:latin typeface="+mj-lt"/>
              </a:rPr>
              <a:t>Financial aid is money to help pay for education after high school. Grants, work-study, loans, and scholarships help make education after high school affordable.</a:t>
            </a:r>
          </a:p>
          <a:p>
            <a:endParaRPr lang="en-US"/>
          </a:p>
          <a:p>
            <a:r>
              <a:rPr lang="en-US" err="1"/>
              <a:t>Subvenciones</a:t>
            </a:r>
            <a:r>
              <a:rPr lang="en-US"/>
              <a:t>- grants/</a:t>
            </a:r>
            <a:r>
              <a:rPr lang="en-US" err="1"/>
              <a:t>beca</a:t>
            </a:r>
            <a:endParaRPr lang="en-US"/>
          </a:p>
          <a:p>
            <a:r>
              <a:rPr lang="en-US" err="1"/>
              <a:t>Asequible</a:t>
            </a:r>
            <a:r>
              <a:rPr lang="en-US"/>
              <a:t>- mas </a:t>
            </a:r>
            <a:r>
              <a:rPr lang="en-US" err="1"/>
              <a:t>facil</a:t>
            </a:r>
            <a:r>
              <a:rPr lang="en-US"/>
              <a:t> de </a:t>
            </a:r>
            <a:r>
              <a:rPr lang="en-US" err="1"/>
              <a:t>alcansar</a:t>
            </a:r>
            <a:endParaRPr lang="en-US"/>
          </a:p>
          <a:p>
            <a:endParaRPr lang="en-US"/>
          </a:p>
        </p:txBody>
      </p:sp>
      <p:sp>
        <p:nvSpPr>
          <p:cNvPr id="4" name="Slide Number Placeholder 3"/>
          <p:cNvSpPr>
            <a:spLocks noGrp="1"/>
          </p:cNvSpPr>
          <p:nvPr>
            <p:ph type="sldNum" sz="quarter" idx="5"/>
          </p:nvPr>
        </p:nvSpPr>
        <p:spPr/>
        <p:txBody>
          <a:bodyPr/>
          <a:lstStyle/>
          <a:p>
            <a:fld id="{F183822A-29A8-4DE4-8EB5-04095DD45EA7}" type="slidenum">
              <a:rPr lang="en-US" smtClean="0"/>
              <a:t>4</a:t>
            </a:fld>
            <a:endParaRPr lang="en-US"/>
          </a:p>
        </p:txBody>
      </p:sp>
    </p:spTree>
    <p:extLst>
      <p:ext uri="{BB962C8B-B14F-4D97-AF65-F5344CB8AC3E}">
        <p14:creationId xmlns:p14="http://schemas.microsoft.com/office/powerpoint/2010/main" val="3100918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a:t>No hay un solo significado para "ayuda financiera". Estos son los cuatro tipos: • Subvenciones: basadas en los ingresos, federales y estatales. • Becas: basadas en méritos e ingresos, de fuentes públicas, privadas y sin fines de lucro. • Préstamos: basados en ingresos, federales y privados. • Trabajo y estudio: basado en ingresos, federales y estatales. Hablaremos a continuación sobre los detalles.</a:t>
            </a:r>
          </a:p>
          <a:p>
            <a:endParaRPr lang="en-US"/>
          </a:p>
          <a:p>
            <a:r>
              <a:rPr lang="en-US" u="sng"/>
              <a:t>Financial Aid Is An Umbrella</a:t>
            </a:r>
          </a:p>
          <a:p>
            <a:r>
              <a:rPr lang="en-US" u="sng"/>
              <a:t>There is not just one meaning for “financial aid”. These are the fours types: • Grants: income-based, federal and state. • Scholarships: merit and income-based, from public, private, and nonprofit sources. • Loans: income-based, federal and private. • Work Study: income-based, federal and state. We will talk next about the specifics.</a:t>
            </a:r>
          </a:p>
        </p:txBody>
      </p:sp>
      <p:sp>
        <p:nvSpPr>
          <p:cNvPr id="4" name="Slide Number Placeholder 3"/>
          <p:cNvSpPr>
            <a:spLocks noGrp="1"/>
          </p:cNvSpPr>
          <p:nvPr>
            <p:ph type="sldNum" sz="quarter" idx="10"/>
          </p:nvPr>
        </p:nvSpPr>
        <p:spPr/>
        <p:txBody>
          <a:bodyPr/>
          <a:lstStyle/>
          <a:p>
            <a:fld id="{564759F7-F910-4071-BE29-5B51C8545653}"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320153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u="none">
                <a:latin typeface="+mj-lt"/>
              </a:rPr>
              <a:t>Para obtener más información sobre la beca de Washington College y otras ayudas financieras estatales, visite https://wsac.wa.gov/wc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s-ES" sz="1200" u="none">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sz="1200" u="none">
                <a:latin typeface="+mj-lt"/>
              </a:rPr>
              <a:t>Para obtener más información sobre las Becas Federales </a:t>
            </a:r>
            <a:r>
              <a:rPr lang="es-ES" sz="1200" u="none" err="1">
                <a:latin typeface="+mj-lt"/>
              </a:rPr>
              <a:t>Pell</a:t>
            </a:r>
            <a:r>
              <a:rPr lang="es-ES" sz="1200" u="none">
                <a:latin typeface="+mj-lt"/>
              </a:rPr>
              <a:t> https://studentaid.gov/understand-aid/types/grants/pell</a:t>
            </a:r>
            <a:endParaRPr lang="en-US" sz="1200" u="none">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u="sng">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A grant is gift aid that often based on financial need and does not need to be repaid (unless, for example, you withdraw from school and owe a refund). </a:t>
            </a:r>
            <a:endParaRPr lang="en-US" u="sng"/>
          </a:p>
          <a:p>
            <a:endParaRPr lang="en-US"/>
          </a:p>
          <a:p>
            <a:r>
              <a:rPr lang="en-US"/>
              <a:t>For more information about the Washington College Grant and other state financial aid please go to https://wsac.wa.gov/wcg </a:t>
            </a:r>
          </a:p>
          <a:p>
            <a:endParaRPr lang="en-US"/>
          </a:p>
          <a:p>
            <a:r>
              <a:rPr lang="en-US"/>
              <a:t>For more information about Federal Pell Grants https://studentaid.gov/understand-aid/types/grants/pell</a:t>
            </a:r>
          </a:p>
        </p:txBody>
      </p:sp>
      <p:sp>
        <p:nvSpPr>
          <p:cNvPr id="4" name="Slide Number Placeholder 3"/>
          <p:cNvSpPr>
            <a:spLocks noGrp="1"/>
          </p:cNvSpPr>
          <p:nvPr>
            <p:ph type="sldNum" sz="quarter" idx="5"/>
          </p:nvPr>
        </p:nvSpPr>
        <p:spPr/>
        <p:txBody>
          <a:bodyPr/>
          <a:lstStyle/>
          <a:p>
            <a:fld id="{F183822A-29A8-4DE4-8EB5-04095DD45EA7}" type="slidenum">
              <a:rPr lang="en-US" smtClean="0"/>
              <a:t>6</a:t>
            </a:fld>
            <a:endParaRPr lang="en-US"/>
          </a:p>
        </p:txBody>
      </p:sp>
    </p:spTree>
    <p:extLst>
      <p:ext uri="{BB962C8B-B14F-4D97-AF65-F5344CB8AC3E}">
        <p14:creationId xmlns:p14="http://schemas.microsoft.com/office/powerpoint/2010/main" val="32843351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mj-lt"/>
              </a:rPr>
              <a:t>El </a:t>
            </a:r>
            <a:r>
              <a:rPr lang="en-US" sz="1200" err="1">
                <a:latin typeface="+mj-lt"/>
              </a:rPr>
              <a:t>programa</a:t>
            </a:r>
            <a:r>
              <a:rPr lang="en-US" sz="1200">
                <a:latin typeface="+mj-lt"/>
              </a:rPr>
              <a:t> Washington College Grant antes </a:t>
            </a:r>
            <a:r>
              <a:rPr lang="en-US" sz="1200" err="1">
                <a:latin typeface="+mj-lt"/>
              </a:rPr>
              <a:t>conocido</a:t>
            </a:r>
            <a:r>
              <a:rPr lang="en-US" sz="1200">
                <a:latin typeface="+mj-lt"/>
              </a:rPr>
              <a:t> </a:t>
            </a:r>
            <a:r>
              <a:rPr lang="en-US" sz="1200" err="1">
                <a:latin typeface="+mj-lt"/>
              </a:rPr>
              <a:t>como</a:t>
            </a:r>
            <a:r>
              <a:rPr lang="en-US" sz="1200">
                <a:latin typeface="+mj-lt"/>
              </a:rPr>
              <a:t> State Need Grant </a:t>
            </a:r>
            <a:r>
              <a:rPr lang="en-US" sz="1200" err="1">
                <a:latin typeface="+mj-lt"/>
              </a:rPr>
              <a:t>hace</a:t>
            </a:r>
            <a:r>
              <a:rPr lang="en-US" sz="1200">
                <a:latin typeface="+mj-lt"/>
              </a:rPr>
              <a:t> la educación y capacitación más allá de la </a:t>
            </a:r>
            <a:r>
              <a:rPr lang="en-US" sz="1200" err="1">
                <a:latin typeface="+mj-lt"/>
              </a:rPr>
              <a:t>preparatoria</a:t>
            </a:r>
            <a:r>
              <a:rPr lang="en-US" sz="1200">
                <a:latin typeface="+mj-lt"/>
              </a:rPr>
              <a:t> que </a:t>
            </a:r>
            <a:r>
              <a:rPr lang="en-US" sz="1200" err="1">
                <a:latin typeface="+mj-lt"/>
              </a:rPr>
              <a:t>sean</a:t>
            </a:r>
            <a:r>
              <a:rPr lang="en-US" sz="1200">
                <a:latin typeface="+mj-lt"/>
              </a:rPr>
              <a:t> </a:t>
            </a:r>
            <a:r>
              <a:rPr lang="en-US" sz="1200" err="1">
                <a:latin typeface="+mj-lt"/>
              </a:rPr>
              <a:t>asequibles</a:t>
            </a:r>
            <a:r>
              <a:rPr lang="en-US" sz="1200">
                <a:latin typeface="+mj-lt"/>
              </a:rPr>
              <a:t>. WCG </a:t>
            </a:r>
            <a:r>
              <a:rPr lang="en-US" sz="1200" err="1">
                <a:latin typeface="+mj-lt"/>
              </a:rPr>
              <a:t>proporciona</a:t>
            </a:r>
            <a:r>
              <a:rPr lang="en-US" sz="1200">
                <a:latin typeface="+mj-lt"/>
              </a:rPr>
              <a:t> </a:t>
            </a:r>
            <a:r>
              <a:rPr lang="en-US" sz="1200" err="1">
                <a:latin typeface="+mj-lt"/>
              </a:rPr>
              <a:t>ayuda</a:t>
            </a:r>
            <a:r>
              <a:rPr lang="en-US" sz="1200">
                <a:latin typeface="+mj-lt"/>
              </a:rPr>
              <a:t> </a:t>
            </a:r>
            <a:r>
              <a:rPr lang="en-US" sz="1200" err="1">
                <a:latin typeface="+mj-lt"/>
              </a:rPr>
              <a:t>financiera</a:t>
            </a:r>
            <a:r>
              <a:rPr lang="en-US" sz="1200">
                <a:latin typeface="+mj-lt"/>
              </a:rPr>
              <a:t> </a:t>
            </a:r>
            <a:r>
              <a:rPr lang="en-US" sz="1200" err="1">
                <a:latin typeface="+mj-lt"/>
              </a:rPr>
              <a:t>basada</a:t>
            </a:r>
            <a:r>
              <a:rPr lang="en-US" sz="1200">
                <a:latin typeface="+mj-lt"/>
              </a:rPr>
              <a:t> en </a:t>
            </a:r>
            <a:r>
              <a:rPr lang="en-US" sz="1200" err="1">
                <a:latin typeface="+mj-lt"/>
              </a:rPr>
              <a:t>necesidad</a:t>
            </a:r>
            <a:r>
              <a:rPr lang="en-US" sz="1200">
                <a:latin typeface="+mj-lt"/>
              </a:rPr>
              <a:t> a </a:t>
            </a:r>
            <a:r>
              <a:rPr lang="en-US" sz="1200" err="1">
                <a:latin typeface="+mj-lt"/>
              </a:rPr>
              <a:t>los</a:t>
            </a:r>
            <a:r>
              <a:rPr lang="en-US" sz="1200">
                <a:latin typeface="+mj-lt"/>
              </a:rPr>
              <a:t> </a:t>
            </a:r>
            <a:r>
              <a:rPr lang="en-US" sz="1200" err="1">
                <a:latin typeface="+mj-lt"/>
              </a:rPr>
              <a:t>estudiantes</a:t>
            </a:r>
            <a:r>
              <a:rPr lang="en-US" sz="1200">
                <a:latin typeface="+mj-lt"/>
              </a:rPr>
              <a:t> </a:t>
            </a:r>
            <a:r>
              <a:rPr lang="en-US" sz="1200" err="1">
                <a:latin typeface="+mj-lt"/>
              </a:rPr>
              <a:t>elegibles</a:t>
            </a:r>
            <a:r>
              <a:rPr lang="en-US" sz="1200">
                <a:latin typeface="+mj-lt"/>
              </a:rPr>
              <a:t> </a:t>
            </a:r>
            <a:r>
              <a:rPr lang="en-US" sz="1200" err="1">
                <a:latin typeface="+mj-lt"/>
              </a:rPr>
              <a:t>por</a:t>
            </a:r>
            <a:r>
              <a:rPr lang="en-US" sz="1200">
                <a:latin typeface="+mj-lt"/>
              </a:rPr>
              <a:t> </a:t>
            </a:r>
            <a:r>
              <a:rPr lang="en-US" sz="1200" err="1">
                <a:latin typeface="+mj-lt"/>
              </a:rPr>
              <a:t>ingreso</a:t>
            </a:r>
            <a:r>
              <a:rPr lang="en-US" sz="1200">
                <a:latin typeface="+mj-lt"/>
              </a:rPr>
              <a:t>, que </a:t>
            </a:r>
            <a:r>
              <a:rPr lang="en-US" sz="1200" err="1">
                <a:latin typeface="+mj-lt"/>
              </a:rPr>
              <a:t>buscan</a:t>
            </a:r>
            <a:r>
              <a:rPr lang="en-US" sz="1200">
                <a:latin typeface="+mj-lt"/>
              </a:rPr>
              <a:t> </a:t>
            </a:r>
            <a:r>
              <a:rPr lang="en-US" sz="1200" err="1">
                <a:latin typeface="+mj-lt"/>
              </a:rPr>
              <a:t>una</a:t>
            </a:r>
            <a:r>
              <a:rPr lang="en-US" sz="1200">
                <a:latin typeface="+mj-lt"/>
              </a:rPr>
              <a:t> educacion </a:t>
            </a:r>
            <a:r>
              <a:rPr lang="en-US" sz="1200" err="1">
                <a:latin typeface="+mj-lt"/>
              </a:rPr>
              <a:t>despues</a:t>
            </a:r>
            <a:r>
              <a:rPr lang="en-US" sz="1200">
                <a:latin typeface="+mj-lt"/>
              </a:rPr>
              <a:t> de la </a:t>
            </a:r>
            <a:r>
              <a:rPr lang="en-US" sz="1200" err="1">
                <a:latin typeface="+mj-lt"/>
              </a:rPr>
              <a:t>preparatoria</a:t>
            </a:r>
            <a:r>
              <a:rPr lang="en-US" sz="1200">
                <a:latin typeface="+mj-lt"/>
              </a:rPr>
              <a:t>. El </a:t>
            </a:r>
            <a:r>
              <a:rPr lang="en-US" sz="1200" err="1">
                <a:latin typeface="+mj-lt"/>
              </a:rPr>
              <a:t>monto</a:t>
            </a:r>
            <a:r>
              <a:rPr lang="en-US" sz="1200">
                <a:latin typeface="+mj-lt"/>
              </a:rPr>
              <a:t> </a:t>
            </a:r>
            <a:r>
              <a:rPr lang="en-US" sz="1200" err="1">
                <a:latin typeface="+mj-lt"/>
              </a:rPr>
              <a:t>maximo</a:t>
            </a:r>
            <a:r>
              <a:rPr lang="en-US" sz="1200">
                <a:latin typeface="+mj-lt"/>
              </a:rPr>
              <a:t> </a:t>
            </a:r>
            <a:r>
              <a:rPr lang="en-US" sz="1200" err="1">
                <a:latin typeface="+mj-lt"/>
              </a:rPr>
              <a:t>cubrira</a:t>
            </a:r>
            <a:r>
              <a:rPr lang="en-US" sz="1200">
                <a:latin typeface="+mj-lt"/>
              </a:rPr>
              <a:t> la matricula </a:t>
            </a:r>
            <a:r>
              <a:rPr lang="en-US" sz="1200" err="1">
                <a:latin typeface="+mj-lt"/>
              </a:rPr>
              <a:t>completa</a:t>
            </a:r>
            <a:r>
              <a:rPr lang="en-US" sz="1200">
                <a:latin typeface="+mj-lt"/>
              </a:rPr>
              <a:t> en </a:t>
            </a:r>
            <a:r>
              <a:rPr lang="en-US" sz="1200" err="1">
                <a:latin typeface="+mj-lt"/>
              </a:rPr>
              <a:t>cualquier</a:t>
            </a:r>
            <a:r>
              <a:rPr lang="en-US" sz="1200">
                <a:latin typeface="+mj-lt"/>
              </a:rPr>
              <a:t> colegio o </a:t>
            </a:r>
            <a:r>
              <a:rPr lang="en-US" sz="1200" err="1">
                <a:latin typeface="+mj-lt"/>
              </a:rPr>
              <a:t>univerdadiad</a:t>
            </a:r>
            <a:r>
              <a:rPr lang="en-US" sz="1200">
                <a:latin typeface="+mj-lt"/>
              </a:rPr>
              <a:t> publica y </a:t>
            </a:r>
            <a:r>
              <a:rPr lang="en-US" sz="1200" err="1">
                <a:latin typeface="+mj-lt"/>
              </a:rPr>
              <a:t>estatal</a:t>
            </a:r>
            <a:r>
              <a:rPr lang="en-US" sz="1200">
                <a:latin typeface="+mj-lt"/>
              </a:rPr>
              <a:t> </a:t>
            </a:r>
            <a:r>
              <a:rPr lang="en-US" sz="1200" err="1">
                <a:latin typeface="+mj-lt"/>
              </a:rPr>
              <a:t>aprovado</a:t>
            </a:r>
            <a:r>
              <a:rPr lang="en-US" sz="1200">
                <a:latin typeface="+mj-lt"/>
              </a:rPr>
              <a:t>/eligible, </a:t>
            </a:r>
            <a:r>
              <a:rPr lang="en-US" sz="1200" err="1">
                <a:latin typeface="+mj-lt"/>
              </a:rPr>
              <a:t>incluidos</a:t>
            </a:r>
            <a:r>
              <a:rPr lang="en-US" sz="1200">
                <a:latin typeface="+mj-lt"/>
              </a:rPr>
              <a:t> </a:t>
            </a:r>
            <a:r>
              <a:rPr lang="en-US" sz="1200" err="1">
                <a:latin typeface="+mj-lt"/>
              </a:rPr>
              <a:t>los</a:t>
            </a:r>
            <a:r>
              <a:rPr lang="en-US" sz="1200">
                <a:latin typeface="+mj-lt"/>
              </a:rPr>
              <a:t> colegios </a:t>
            </a:r>
            <a:r>
              <a:rPr lang="en-US" sz="1200" err="1">
                <a:latin typeface="+mj-lt"/>
              </a:rPr>
              <a:t>comunitarios</a:t>
            </a:r>
            <a:r>
              <a:rPr lang="en-US" sz="1200">
                <a:latin typeface="+mj-lt"/>
              </a:rPr>
              <a:t> o tecnicos, o </a:t>
            </a:r>
            <a:r>
              <a:rPr lang="en-US" sz="1200" err="1">
                <a:latin typeface="+mj-lt"/>
              </a:rPr>
              <a:t>proporcionara</a:t>
            </a:r>
            <a:r>
              <a:rPr lang="en-US" sz="1200">
                <a:latin typeface="+mj-lt"/>
              </a:rPr>
              <a:t> un </a:t>
            </a:r>
            <a:r>
              <a:rPr lang="en-US" sz="1200" err="1">
                <a:latin typeface="+mj-lt"/>
              </a:rPr>
              <a:t>monto</a:t>
            </a:r>
            <a:r>
              <a:rPr lang="en-US" sz="1200">
                <a:latin typeface="+mj-lt"/>
              </a:rPr>
              <a:t> comparable para la matricula y </a:t>
            </a:r>
            <a:r>
              <a:rPr lang="en-US" sz="1200" err="1">
                <a:latin typeface="+mj-lt"/>
              </a:rPr>
              <a:t>otros</a:t>
            </a:r>
            <a:r>
              <a:rPr lang="en-US" sz="1200">
                <a:latin typeface="+mj-lt"/>
              </a:rPr>
              <a:t> </a:t>
            </a:r>
            <a:r>
              <a:rPr lang="en-US" sz="1200" err="1">
                <a:latin typeface="+mj-lt"/>
              </a:rPr>
              <a:t>costos</a:t>
            </a:r>
            <a:r>
              <a:rPr lang="en-US" sz="1200">
                <a:latin typeface="+mj-lt"/>
              </a:rPr>
              <a:t> </a:t>
            </a:r>
            <a:r>
              <a:rPr lang="en-US" sz="1200" err="1">
                <a:latin typeface="+mj-lt"/>
              </a:rPr>
              <a:t>relacionados</a:t>
            </a:r>
            <a:r>
              <a:rPr lang="en-US" sz="1200">
                <a:latin typeface="+mj-lt"/>
              </a:rPr>
              <a:t> con la educacion en </a:t>
            </a:r>
            <a:r>
              <a:rPr lang="en-US" sz="1200" err="1">
                <a:latin typeface="+mj-lt"/>
              </a:rPr>
              <a:t>una</a:t>
            </a:r>
            <a:r>
              <a:rPr lang="en-US" sz="1200">
                <a:latin typeface="+mj-lt"/>
              </a:rPr>
              <a:t> </a:t>
            </a:r>
            <a:r>
              <a:rPr lang="en-US" sz="1200" err="1">
                <a:latin typeface="+mj-lt"/>
              </a:rPr>
              <a:t>universidad</a:t>
            </a:r>
            <a:r>
              <a:rPr lang="en-US" sz="1200">
                <a:latin typeface="+mj-lt"/>
              </a:rPr>
              <a:t> </a:t>
            </a:r>
            <a:r>
              <a:rPr lang="en-US" sz="1200" err="1">
                <a:latin typeface="+mj-lt"/>
              </a:rPr>
              <a:t>privada</a:t>
            </a:r>
            <a:r>
              <a:rPr lang="en-US" sz="1200">
                <a:latin typeface="+mj-lt"/>
              </a:rPr>
              <a:t> </a:t>
            </a:r>
            <a:r>
              <a:rPr lang="en-US" sz="1200" err="1">
                <a:latin typeface="+mj-lt"/>
              </a:rPr>
              <a:t>aprobada</a:t>
            </a:r>
            <a:r>
              <a:rPr lang="en-US" sz="1200">
                <a:latin typeface="+mj-lt"/>
              </a:rPr>
              <a:t> o </a:t>
            </a:r>
            <a:r>
              <a:rPr lang="en-US" sz="1200" err="1">
                <a:latin typeface="+mj-lt"/>
              </a:rPr>
              <a:t>programa</a:t>
            </a:r>
            <a:r>
              <a:rPr lang="en-US" sz="1200">
                <a:latin typeface="+mj-lt"/>
              </a:rPr>
              <a:t> de capacitacion </a:t>
            </a:r>
            <a:r>
              <a:rPr lang="en-US" sz="1200" err="1">
                <a:latin typeface="+mj-lt"/>
              </a:rPr>
              <a:t>profesional</a:t>
            </a:r>
            <a:r>
              <a:rPr lang="en-US" sz="1200">
                <a:latin typeface="+mj-lt"/>
              </a:rPr>
              <a:t>. Para mas </a:t>
            </a:r>
            <a:r>
              <a:rPr lang="en-US" sz="1200" err="1">
                <a:latin typeface="+mj-lt"/>
              </a:rPr>
              <a:t>informacion</a:t>
            </a:r>
            <a:r>
              <a:rPr lang="en-US" sz="1200">
                <a:latin typeface="+mj-lt"/>
              </a:rPr>
              <a:t> </a:t>
            </a:r>
            <a:r>
              <a:rPr lang="en-US" sz="1200" err="1">
                <a:latin typeface="+mj-lt"/>
              </a:rPr>
              <a:t>vayan</a:t>
            </a:r>
            <a:r>
              <a:rPr lang="en-US" sz="1200">
                <a:latin typeface="+mj-lt"/>
              </a:rPr>
              <a:t> a </a:t>
            </a:r>
            <a:r>
              <a:rPr lang="en-US" sz="1200" b="0" i="0" kern="1200">
                <a:solidFill>
                  <a:schemeClr val="tx1"/>
                </a:solidFill>
                <a:effectLst/>
                <a:latin typeface="+mn-lt"/>
                <a:ea typeface="+mn-ea"/>
                <a:cs typeface="+mn-cs"/>
              </a:rPr>
              <a:t>https://wsac.wa.gov/wcg.</a:t>
            </a:r>
            <a:endParaRPr lang="en-US" sz="1200">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mj-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a:latin typeface="+mj-lt"/>
              </a:rPr>
              <a:t>Washington State has made a groundbreaking commitment to financial aid for low- and middle-income people of all ages with the new </a:t>
            </a:r>
            <a:r>
              <a:rPr lang="en-US" sz="1200" b="1" u="sng">
                <a:latin typeface="+mj-lt"/>
              </a:rPr>
              <a:t>Washington College Grant </a:t>
            </a:r>
            <a:r>
              <a:rPr lang="en-US" sz="1200" u="sng">
                <a:latin typeface="+mj-lt"/>
              </a:rPr>
              <a:t>(WC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a:solidFill>
                  <a:schemeClr val="tx1"/>
                </a:solidFill>
                <a:effectLst/>
                <a:latin typeface="+mn-lt"/>
                <a:ea typeface="+mn-ea"/>
                <a:cs typeface="+mn-cs"/>
              </a:rPr>
              <a:t>The Washington College Grant (WCG) program—formerly known as the State Need Grant (SNG)—makes education and training beyond high school affordable. WCG provides need-based financial aid to income-eligible students pursuing education after high school. The maximum award amount will cover full tuition at any </a:t>
            </a:r>
            <a:r>
              <a:rPr lang="en-US" sz="1200" b="0" i="0" u="none" strike="noStrike" kern="1200">
                <a:solidFill>
                  <a:schemeClr val="tx1"/>
                </a:solidFill>
                <a:effectLst/>
                <a:latin typeface="+mn-lt"/>
                <a:ea typeface="+mn-ea"/>
                <a:cs typeface="+mn-cs"/>
                <a:hlinkClick r:id="rId3" tooltip="SFA Participating Institutions"/>
              </a:rPr>
              <a:t>approved/eligible</a:t>
            </a:r>
            <a:r>
              <a:rPr lang="en-US" sz="1200" b="0" i="0" kern="1200">
                <a:solidFill>
                  <a:schemeClr val="tx1"/>
                </a:solidFill>
                <a:effectLst/>
                <a:latin typeface="+mn-lt"/>
                <a:ea typeface="+mn-ea"/>
                <a:cs typeface="+mn-cs"/>
              </a:rPr>
              <a:t> in-state public college or university, including community or technical colleges, or provide a comparable amount toward tuition and other education-related costs at an approved private college or career training program.  For more information go to https://wsac.wa.gov/wcg </a:t>
            </a:r>
            <a:endParaRPr lang="en-US"/>
          </a:p>
          <a:p>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B9A179D-2D27-49E2-B022-8EDDA2EFE682}" type="slidenum">
              <a:rPr lang="en-US" smtClean="0"/>
              <a:t>7</a:t>
            </a:fld>
            <a:endParaRPr lang="en-US"/>
          </a:p>
        </p:txBody>
      </p:sp>
    </p:spTree>
    <p:extLst>
      <p:ext uri="{BB962C8B-B14F-4D97-AF65-F5344CB8AC3E}">
        <p14:creationId xmlns:p14="http://schemas.microsoft.com/office/powerpoint/2010/main" val="1221694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sz="1200">
                <a:latin typeface="+mj-lt"/>
              </a:rPr>
              <a:t>Con la Beca de Washington </a:t>
            </a:r>
            <a:r>
              <a:rPr lang="es-ES" sz="1200" err="1">
                <a:latin typeface="+mj-lt"/>
              </a:rPr>
              <a:t>College</a:t>
            </a:r>
            <a:r>
              <a:rPr lang="es-ES" sz="1200">
                <a:latin typeface="+mj-lt"/>
              </a:rPr>
              <a:t> (WCG), más familias son elegibles para recibir ayuda financiera.</a:t>
            </a:r>
          </a:p>
          <a:p>
            <a:r>
              <a:rPr lang="es-ES" sz="1200">
                <a:latin typeface="+mj-lt"/>
              </a:rPr>
              <a:t>Los montos de los apoyos varían según los ingresos, el tamaño de la familia y la escuela o el programa al que asistirá.</a:t>
            </a:r>
          </a:p>
          <a:p>
            <a:endParaRPr lang="es-ES" sz="1200">
              <a:latin typeface="+mj-lt"/>
            </a:endParaRPr>
          </a:p>
          <a:p>
            <a:r>
              <a:rPr lang="es-ES" sz="1200">
                <a:latin typeface="+mj-lt"/>
              </a:rPr>
              <a:t>WCG proporciona una oportunidad única.</a:t>
            </a:r>
          </a:p>
          <a:p>
            <a:r>
              <a:rPr lang="es-ES" sz="1200">
                <a:latin typeface="+mj-lt"/>
              </a:rPr>
              <a:t>Obtenga más información sobre la elegibilidad y los premios de WCG en https://wsac.wa.gov/wcg-awards cuadro completo de MFI se puede encontrar en https://wsac.wa.gov/sites/default/files/2023-24.WCG.MFIChart.pdf</a:t>
            </a:r>
          </a:p>
          <a:p>
            <a:endParaRPr lang="en-US" sz="1200">
              <a:latin typeface="+mj-lt"/>
            </a:endParaRPr>
          </a:p>
          <a:p>
            <a:r>
              <a:rPr lang="en-US" sz="1200">
                <a:latin typeface="+mj-lt"/>
              </a:rPr>
              <a:t>With the Washington College Grant (WCG), more families are eligible for financial aid than ever before.</a:t>
            </a:r>
          </a:p>
          <a:p>
            <a:r>
              <a:rPr lang="en-US" sz="1200">
                <a:latin typeface="+mj-lt"/>
              </a:rPr>
              <a:t>Award amounts vary based on income, family size, and the school or program attended.</a:t>
            </a:r>
            <a:endParaRPr lang="en-US" sz="1200">
              <a:latin typeface="Tw Cen MT Condensed Extra Bold" panose="020B0803020202020204" pitchFamily="34" charset="0"/>
            </a:endParaRPr>
          </a:p>
          <a:p>
            <a:r>
              <a:rPr lang="en-US" sz="1200">
                <a:latin typeface="Tw Cen MT Condensed Extra Bold" panose="020B0803020202020204" pitchFamily="34" charset="0"/>
              </a:rPr>
              <a:t>Provides a Unique Opportunity</a:t>
            </a:r>
            <a:endParaRPr lang="en-US"/>
          </a:p>
          <a:p>
            <a:r>
              <a:rPr lang="en-US"/>
              <a:t>Learn more about WCG eligibility and awards at https://wsac.wa.gov/wcg-awards complete MFI chart can be found at https://wsac.wa.gov/sites/default/files/2023-24.WCG.MFIChart.pdf</a:t>
            </a:r>
          </a:p>
        </p:txBody>
      </p:sp>
      <p:sp>
        <p:nvSpPr>
          <p:cNvPr id="4" name="Slide Number Placeholder 3"/>
          <p:cNvSpPr>
            <a:spLocks noGrp="1"/>
          </p:cNvSpPr>
          <p:nvPr>
            <p:ph type="sldNum" sz="quarter" idx="5"/>
          </p:nvPr>
        </p:nvSpPr>
        <p:spPr/>
        <p:txBody>
          <a:bodyPr/>
          <a:lstStyle/>
          <a:p>
            <a:fld id="{ABE09146-97F1-47D7-8F91-176E1667E065}" type="slidenum">
              <a:rPr lang="en-US" smtClean="0"/>
              <a:t>8</a:t>
            </a:fld>
            <a:endParaRPr lang="en-US"/>
          </a:p>
        </p:txBody>
      </p:sp>
    </p:spTree>
    <p:extLst>
      <p:ext uri="{BB962C8B-B14F-4D97-AF65-F5344CB8AC3E}">
        <p14:creationId xmlns:p14="http://schemas.microsoft.com/office/powerpoint/2010/main" val="15351981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cholarships</a:t>
            </a:r>
            <a:endParaRPr lang="en-US" sz="1200" b="0" i="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a:solidFill>
                  <a:schemeClr val="tx1"/>
                </a:solidFill>
                <a:effectLst/>
                <a:latin typeface="+mn-lt"/>
                <a:ea typeface="+mn-ea"/>
                <a:cs typeface="+mn-cs"/>
              </a:rPr>
              <a:t>https://washboard.wsac.wa.gov/login.aspx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a:t>¿</a:t>
            </a:r>
            <a:r>
              <a:rPr lang="en-US" sz="1200" b="0" i="1" kern="1200" err="1">
                <a:solidFill>
                  <a:schemeClr val="tx1"/>
                </a:solidFill>
                <a:effectLst/>
                <a:latin typeface="+mn-lt"/>
                <a:ea typeface="+mn-ea"/>
                <a:cs typeface="+mn-cs"/>
              </a:rPr>
              <a:t>Buscas</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becas</a:t>
            </a:r>
            <a:r>
              <a:rPr lang="en-US" sz="1200" b="0" i="1" kern="1200">
                <a:solidFill>
                  <a:schemeClr val="tx1"/>
                </a:solidFill>
                <a:effectLst/>
                <a:latin typeface="+mn-lt"/>
                <a:ea typeface="+mn-ea"/>
                <a:cs typeface="+mn-cs"/>
              </a:rPr>
              <a:t>? theWashBoard.org lo </a:t>
            </a:r>
            <a:r>
              <a:rPr lang="en-US" sz="1200" b="0" i="1" kern="1200" err="1">
                <a:solidFill>
                  <a:schemeClr val="tx1"/>
                </a:solidFill>
                <a:effectLst/>
                <a:latin typeface="+mn-lt"/>
                <a:ea typeface="+mn-ea"/>
                <a:cs typeface="+mn-cs"/>
              </a:rPr>
              <a:t>hace</a:t>
            </a:r>
            <a:r>
              <a:rPr lang="en-US" sz="1200" b="0" i="1" kern="1200">
                <a:solidFill>
                  <a:schemeClr val="tx1"/>
                </a:solidFill>
                <a:effectLst/>
                <a:latin typeface="+mn-lt"/>
                <a:ea typeface="+mn-ea"/>
                <a:cs typeface="+mn-cs"/>
              </a:rPr>
              <a:t> simp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a:solidFill>
                  <a:schemeClr val="tx1"/>
                </a:solidFill>
                <a:effectLst/>
                <a:latin typeface="+mn-lt"/>
                <a:ea typeface="+mn-ea"/>
                <a:cs typeface="+mn-cs"/>
              </a:rPr>
              <a:t>Washboard </a:t>
            </a:r>
            <a:r>
              <a:rPr lang="en-US" sz="1200" b="0" i="1" kern="1200" err="1">
                <a:solidFill>
                  <a:schemeClr val="tx1"/>
                </a:solidFill>
                <a:effectLst/>
                <a:latin typeface="+mn-lt"/>
                <a:ea typeface="+mn-ea"/>
                <a:cs typeface="+mn-cs"/>
              </a:rPr>
              <a:t>conecta</a:t>
            </a:r>
            <a:r>
              <a:rPr lang="en-US" sz="1200" b="0" i="1" kern="1200">
                <a:solidFill>
                  <a:schemeClr val="tx1"/>
                </a:solidFill>
                <a:effectLst/>
                <a:latin typeface="+mn-lt"/>
                <a:ea typeface="+mn-ea"/>
                <a:cs typeface="+mn-cs"/>
              </a:rPr>
              <a:t> a </a:t>
            </a:r>
            <a:r>
              <a:rPr lang="en-US" sz="1200" b="0" i="1" kern="1200" err="1">
                <a:solidFill>
                  <a:schemeClr val="tx1"/>
                </a:solidFill>
                <a:effectLst/>
                <a:latin typeface="+mn-lt"/>
                <a:ea typeface="+mn-ea"/>
                <a:cs typeface="+mn-cs"/>
              </a:rPr>
              <a:t>estudiantes</a:t>
            </a:r>
            <a:r>
              <a:rPr lang="en-US" sz="1200" b="0" i="1" kern="1200">
                <a:solidFill>
                  <a:schemeClr val="tx1"/>
                </a:solidFill>
                <a:effectLst/>
                <a:latin typeface="+mn-lt"/>
                <a:ea typeface="+mn-ea"/>
                <a:cs typeface="+mn-cs"/>
              </a:rPr>
              <a:t> de Washington de </a:t>
            </a:r>
            <a:r>
              <a:rPr lang="en-US" sz="1200" b="0" i="1" kern="1200" err="1">
                <a:solidFill>
                  <a:schemeClr val="tx1"/>
                </a:solidFill>
                <a:effectLst/>
                <a:latin typeface="+mn-lt"/>
                <a:ea typeface="+mn-ea"/>
                <a:cs typeface="+mn-cs"/>
              </a:rPr>
              <a:t>todo</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tipo</a:t>
            </a:r>
            <a:r>
              <a:rPr lang="en-US" sz="1200" b="0" i="1" kern="1200">
                <a:solidFill>
                  <a:schemeClr val="tx1"/>
                </a:solidFill>
                <a:effectLst/>
                <a:latin typeface="+mn-lt"/>
                <a:ea typeface="+mn-ea"/>
                <a:cs typeface="+mn-cs"/>
              </a:rPr>
              <a:t> con </a:t>
            </a:r>
            <a:r>
              <a:rPr lang="en-US" sz="1200" b="0" i="1" kern="1200" err="1">
                <a:solidFill>
                  <a:schemeClr val="tx1"/>
                </a:solidFill>
                <a:effectLst/>
                <a:latin typeface="+mn-lt"/>
                <a:ea typeface="+mn-ea"/>
                <a:cs typeface="+mn-cs"/>
              </a:rPr>
              <a:t>proveedores</a:t>
            </a:r>
            <a:r>
              <a:rPr lang="en-US" sz="1200" b="0" i="1" kern="1200">
                <a:solidFill>
                  <a:schemeClr val="tx1"/>
                </a:solidFill>
                <a:effectLst/>
                <a:latin typeface="+mn-lt"/>
                <a:ea typeface="+mn-ea"/>
                <a:cs typeface="+mn-cs"/>
              </a:rPr>
              <a:t> de </a:t>
            </a:r>
            <a:r>
              <a:rPr lang="en-US" sz="1200" b="0" i="1" kern="1200" err="1">
                <a:solidFill>
                  <a:schemeClr val="tx1"/>
                </a:solidFill>
                <a:effectLst/>
                <a:latin typeface="+mn-lt"/>
                <a:ea typeface="+mn-ea"/>
                <a:cs typeface="+mn-cs"/>
              </a:rPr>
              <a:t>becas</a:t>
            </a:r>
            <a:r>
              <a:rPr lang="en-US" sz="1200" b="0" i="1" kern="1200">
                <a:solidFill>
                  <a:schemeClr val="tx1"/>
                </a:solidFill>
                <a:effectLst/>
                <a:latin typeface="+mn-lt"/>
                <a:ea typeface="+mn-ea"/>
                <a:cs typeface="+mn-cs"/>
              </a:rPr>
              <a:t> de Washington… GRAT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a:solidFill>
                  <a:schemeClr val="tx1"/>
                </a:solidFill>
                <a:effectLst/>
                <a:latin typeface="+mn-lt"/>
                <a:ea typeface="+mn-ea"/>
                <a:cs typeface="+mn-cs"/>
              </a:rPr>
              <a:t>Ya sea que </a:t>
            </a:r>
            <a:r>
              <a:rPr lang="en-US" sz="1200" b="0" i="1" kern="1200" err="1">
                <a:solidFill>
                  <a:schemeClr val="tx1"/>
                </a:solidFill>
                <a:effectLst/>
                <a:latin typeface="+mn-lt"/>
                <a:ea typeface="+mn-ea"/>
                <a:cs typeface="+mn-cs"/>
              </a:rPr>
              <a:t>asista</a:t>
            </a:r>
            <a:r>
              <a:rPr lang="en-US" sz="1200" b="0" i="1" kern="1200">
                <a:solidFill>
                  <a:schemeClr val="tx1"/>
                </a:solidFill>
                <a:effectLst/>
                <a:latin typeface="+mn-lt"/>
                <a:ea typeface="+mn-ea"/>
                <a:cs typeface="+mn-cs"/>
              </a:rPr>
              <a:t> al colegio </a:t>
            </a:r>
            <a:r>
              <a:rPr lang="en-US" sz="1200" b="0" i="1" kern="1200" err="1">
                <a:solidFill>
                  <a:schemeClr val="tx1"/>
                </a:solidFill>
                <a:effectLst/>
                <a:latin typeface="+mn-lt"/>
                <a:ea typeface="+mn-ea"/>
                <a:cs typeface="+mn-cs"/>
              </a:rPr>
              <a:t>dentro</a:t>
            </a:r>
            <a:r>
              <a:rPr lang="en-US" sz="1200" b="0" i="1" kern="1200">
                <a:solidFill>
                  <a:schemeClr val="tx1"/>
                </a:solidFill>
                <a:effectLst/>
                <a:latin typeface="+mn-lt"/>
                <a:ea typeface="+mn-ea"/>
                <a:cs typeface="+mn-cs"/>
              </a:rPr>
              <a:t> o </a:t>
            </a:r>
            <a:r>
              <a:rPr lang="en-US" sz="1200" b="0" i="1" kern="1200" err="1">
                <a:solidFill>
                  <a:schemeClr val="tx1"/>
                </a:solidFill>
                <a:effectLst/>
                <a:latin typeface="+mn-lt"/>
                <a:ea typeface="+mn-ea"/>
                <a:cs typeface="+mn-cs"/>
              </a:rPr>
              <a:t>fuera</a:t>
            </a:r>
            <a:r>
              <a:rPr lang="en-US" sz="1200" b="0" i="1" kern="1200">
                <a:solidFill>
                  <a:schemeClr val="tx1"/>
                </a:solidFill>
                <a:effectLst/>
                <a:latin typeface="+mn-lt"/>
                <a:ea typeface="+mn-ea"/>
                <a:cs typeface="+mn-cs"/>
              </a:rPr>
              <a:t> del </a:t>
            </a:r>
            <a:r>
              <a:rPr lang="en-US" sz="1200" b="0" i="1" kern="1200" err="1">
                <a:solidFill>
                  <a:schemeClr val="tx1"/>
                </a:solidFill>
                <a:effectLst/>
                <a:latin typeface="+mn-lt"/>
                <a:ea typeface="+mn-ea"/>
                <a:cs typeface="+mn-cs"/>
              </a:rPr>
              <a:t>estado</a:t>
            </a:r>
            <a:r>
              <a:rPr lang="en-US" sz="1200" b="0" i="1" kern="1200">
                <a:solidFill>
                  <a:schemeClr val="tx1"/>
                </a:solidFill>
                <a:effectLst/>
                <a:latin typeface="+mn-lt"/>
                <a:ea typeface="+mn-ea"/>
                <a:cs typeface="+mn-cs"/>
              </a:rPr>
              <a:t> de WA, </a:t>
            </a:r>
            <a:r>
              <a:rPr lang="en-US" sz="1200" b="0" i="1" kern="1200" err="1">
                <a:solidFill>
                  <a:schemeClr val="tx1"/>
                </a:solidFill>
                <a:effectLst/>
                <a:latin typeface="+mn-lt"/>
                <a:ea typeface="+mn-ea"/>
                <a:cs typeface="+mn-cs"/>
              </a:rPr>
              <a:t>usted</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ahorra</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mucho</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tiempo</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ingresando</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su</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perfil</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una</a:t>
            </a:r>
            <a:r>
              <a:rPr lang="en-US" sz="1200" b="0" i="1" kern="1200">
                <a:solidFill>
                  <a:schemeClr val="tx1"/>
                </a:solidFill>
                <a:effectLst/>
                <a:latin typeface="+mn-lt"/>
                <a:ea typeface="+mn-ea"/>
                <a:cs typeface="+mn-cs"/>
              </a:rPr>
              <a:t> sola </a:t>
            </a:r>
            <a:r>
              <a:rPr lang="en-US" sz="1200" b="0" i="1" kern="1200" err="1">
                <a:solidFill>
                  <a:schemeClr val="tx1"/>
                </a:solidFill>
                <a:effectLst/>
                <a:latin typeface="+mn-lt"/>
                <a:ea typeface="+mn-ea"/>
                <a:cs typeface="+mn-cs"/>
              </a:rPr>
              <a:t>vez</a:t>
            </a:r>
            <a:r>
              <a:rPr lang="en-US" sz="1200" b="0" i="1" kern="1200">
                <a:solidFill>
                  <a:schemeClr val="tx1"/>
                </a:solidFill>
                <a:effectLst/>
                <a:latin typeface="+mn-lt"/>
                <a:ea typeface="+mn-ea"/>
                <a:cs typeface="+mn-cs"/>
              </a:rPr>
              <a:t> y </a:t>
            </a:r>
            <a:r>
              <a:rPr lang="en-US" sz="1200" b="0" i="1" kern="1200" err="1">
                <a:solidFill>
                  <a:schemeClr val="tx1"/>
                </a:solidFill>
                <a:effectLst/>
                <a:latin typeface="+mn-lt"/>
                <a:ea typeface="+mn-ea"/>
                <a:cs typeface="+mn-cs"/>
              </a:rPr>
              <a:t>permitiendonos</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encontrar</a:t>
            </a:r>
            <a:r>
              <a:rPr lang="en-US" sz="1200" b="0" i="1" kern="1200">
                <a:solidFill>
                  <a:schemeClr val="tx1"/>
                </a:solidFill>
                <a:effectLst/>
                <a:latin typeface="+mn-lt"/>
                <a:ea typeface="+mn-ea"/>
                <a:cs typeface="+mn-cs"/>
              </a:rPr>
              <a:t> las </a:t>
            </a:r>
            <a:r>
              <a:rPr lang="en-US" sz="1200" b="0" i="1" kern="1200" err="1">
                <a:solidFill>
                  <a:schemeClr val="tx1"/>
                </a:solidFill>
                <a:effectLst/>
                <a:latin typeface="+mn-lt"/>
                <a:ea typeface="+mn-ea"/>
                <a:cs typeface="+mn-cs"/>
              </a:rPr>
              <a:t>oportunidades</a:t>
            </a:r>
            <a:r>
              <a:rPr lang="en-US" sz="1200" b="0" i="1" kern="1200">
                <a:solidFill>
                  <a:schemeClr val="tx1"/>
                </a:solidFill>
                <a:effectLst/>
                <a:latin typeface="+mn-lt"/>
                <a:ea typeface="+mn-ea"/>
                <a:cs typeface="+mn-cs"/>
              </a:rPr>
              <a:t> de </a:t>
            </a:r>
            <a:r>
              <a:rPr lang="en-US" sz="1200" b="0" i="1" kern="1200" err="1">
                <a:solidFill>
                  <a:schemeClr val="tx1"/>
                </a:solidFill>
                <a:effectLst/>
                <a:latin typeface="+mn-lt"/>
                <a:ea typeface="+mn-ea"/>
                <a:cs typeface="+mn-cs"/>
              </a:rPr>
              <a:t>becas</a:t>
            </a:r>
            <a:r>
              <a:rPr lang="en-US" sz="1200" b="0" i="1" kern="1200">
                <a:solidFill>
                  <a:schemeClr val="tx1"/>
                </a:solidFill>
                <a:effectLst/>
                <a:latin typeface="+mn-lt"/>
                <a:ea typeface="+mn-ea"/>
                <a:cs typeface="+mn-cs"/>
              </a:rPr>
              <a:t> que </a:t>
            </a:r>
            <a:r>
              <a:rPr lang="en-US" sz="1200" b="0" i="1" kern="1200" err="1">
                <a:solidFill>
                  <a:schemeClr val="tx1"/>
                </a:solidFill>
                <a:effectLst/>
                <a:latin typeface="+mn-lt"/>
                <a:ea typeface="+mn-ea"/>
                <a:cs typeface="+mn-cs"/>
              </a:rPr>
              <a:t>están</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disponibles</a:t>
            </a:r>
            <a:r>
              <a:rPr lang="en-US" sz="1200" b="0" i="1" kern="1200">
                <a:solidFill>
                  <a:schemeClr val="tx1"/>
                </a:solidFill>
                <a:effectLst/>
                <a:latin typeface="+mn-lt"/>
                <a:ea typeface="+mn-ea"/>
                <a:cs typeface="+mn-cs"/>
              </a:rPr>
              <a:t>. theWashBoard.org </a:t>
            </a:r>
            <a:r>
              <a:rPr lang="en-US" sz="1200" b="0" i="1" kern="1200" err="1">
                <a:solidFill>
                  <a:schemeClr val="tx1"/>
                </a:solidFill>
                <a:effectLst/>
                <a:latin typeface="+mn-lt"/>
                <a:ea typeface="+mn-ea"/>
                <a:cs typeface="+mn-cs"/>
              </a:rPr>
              <a:t>esta</a:t>
            </a:r>
            <a:r>
              <a:rPr lang="en-US" sz="1200" b="0" i="1" kern="1200">
                <a:solidFill>
                  <a:schemeClr val="tx1"/>
                </a:solidFill>
                <a:effectLst/>
                <a:latin typeface="+mn-lt"/>
                <a:ea typeface="+mn-ea"/>
                <a:cs typeface="+mn-cs"/>
              </a:rPr>
              <a:t> libre de spam/ </a:t>
            </a:r>
            <a:r>
              <a:rPr lang="en-US" sz="1200" b="0" i="1" kern="1200" err="1">
                <a:solidFill>
                  <a:schemeClr val="tx1"/>
                </a:solidFill>
                <a:effectLst/>
                <a:latin typeface="+mn-lt"/>
                <a:ea typeface="+mn-ea"/>
                <a:cs typeface="+mn-cs"/>
              </a:rPr>
              <a:t>estafas</a:t>
            </a:r>
            <a:r>
              <a:rPr lang="en-US" sz="1200" b="0" i="1" kern="1200">
                <a:solidFill>
                  <a:schemeClr val="tx1"/>
                </a:solidFill>
                <a:effectLst/>
                <a:latin typeface="+mn-lt"/>
                <a:ea typeface="+mn-ea"/>
                <a:cs typeface="+mn-cs"/>
              </a:rPr>
              <a:t> y </a:t>
            </a:r>
            <a:r>
              <a:rPr lang="en-US" sz="1200" b="0" i="1" kern="1200" err="1">
                <a:solidFill>
                  <a:schemeClr val="tx1"/>
                </a:solidFill>
                <a:effectLst/>
                <a:latin typeface="+mn-lt"/>
                <a:ea typeface="+mn-ea"/>
                <a:cs typeface="+mn-cs"/>
              </a:rPr>
              <a:t>nunca</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vendera</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su</a:t>
            </a:r>
            <a:r>
              <a:rPr lang="en-US" sz="1200" b="0" i="1" kern="1200">
                <a:solidFill>
                  <a:schemeClr val="tx1"/>
                </a:solidFill>
                <a:effectLst/>
                <a:latin typeface="+mn-lt"/>
                <a:ea typeface="+mn-ea"/>
                <a:cs typeface="+mn-cs"/>
              </a:rPr>
              <a:t> </a:t>
            </a:r>
            <a:r>
              <a:rPr lang="en-US" sz="1200" b="0" i="1" kern="1200" err="1">
                <a:solidFill>
                  <a:schemeClr val="tx1"/>
                </a:solidFill>
                <a:effectLst/>
                <a:latin typeface="+mn-lt"/>
                <a:ea typeface="+mn-ea"/>
                <a:cs typeface="+mn-cs"/>
              </a:rPr>
              <a:t>informaci</a:t>
            </a:r>
            <a:r>
              <a:rPr lang="es-ES" err="1"/>
              <a:t>ó</a:t>
            </a:r>
            <a:r>
              <a:rPr lang="en-US" sz="1200" b="0" i="1" kern="1200">
                <a:solidFill>
                  <a:schemeClr val="tx1"/>
                </a:solidFill>
                <a:effectLst/>
                <a:latin typeface="+mn-lt"/>
                <a:ea typeface="+mn-ea"/>
                <a:cs typeface="+mn-cs"/>
              </a:rPr>
              <a:t>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s-ES" i="0"/>
              <a:t>¿</a:t>
            </a:r>
            <a:r>
              <a:rPr lang="en-US" sz="1200" b="0" i="0" kern="1200">
                <a:solidFill>
                  <a:schemeClr val="tx1"/>
                </a:solidFill>
                <a:effectLst/>
                <a:latin typeface="+mn-lt"/>
                <a:ea typeface="+mn-ea"/>
                <a:cs typeface="+mn-cs"/>
              </a:rPr>
              <a:t>Como </a:t>
            </a:r>
            <a:r>
              <a:rPr lang="en-US" sz="1200" b="0" i="0" kern="1200" err="1">
                <a:solidFill>
                  <a:schemeClr val="tx1"/>
                </a:solidFill>
                <a:effectLst/>
                <a:latin typeface="+mn-lt"/>
                <a:ea typeface="+mn-ea"/>
                <a:cs typeface="+mn-cs"/>
              </a:rPr>
              <a:t>funciona</a:t>
            </a:r>
            <a:r>
              <a:rPr lang="en-US" sz="1200" b="0" i="0" kern="1200">
                <a:solidFill>
                  <a:schemeClr val="tx1"/>
                </a:solidFill>
                <a:effectLst/>
                <a:latin typeface="+mn-lt"/>
                <a:ea typeface="+mn-ea"/>
                <a:cs typeface="+mn-cs"/>
              </a:rPr>
              <a:t>? Provedores de </a:t>
            </a:r>
            <a:r>
              <a:rPr lang="en-US" sz="1200" b="0" i="0" kern="1200" err="1">
                <a:solidFill>
                  <a:schemeClr val="tx1"/>
                </a:solidFill>
                <a:effectLst/>
                <a:latin typeface="+mn-lt"/>
                <a:ea typeface="+mn-ea"/>
                <a:cs typeface="+mn-cs"/>
              </a:rPr>
              <a:t>bec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rea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un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lista</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todas</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becas</a:t>
            </a:r>
            <a:r>
              <a:rPr lang="en-US" sz="1200" b="0" i="0" kern="1200">
                <a:solidFill>
                  <a:schemeClr val="tx1"/>
                </a:solidFill>
                <a:effectLst/>
                <a:latin typeface="+mn-lt"/>
                <a:ea typeface="+mn-ea"/>
                <a:cs typeface="+mn-cs"/>
              </a:rPr>
              <a:t> que </a:t>
            </a:r>
            <a:r>
              <a:rPr lang="en-US" sz="1200" b="0" i="0" kern="1200" err="1">
                <a:solidFill>
                  <a:schemeClr val="tx1"/>
                </a:solidFill>
                <a:effectLst/>
                <a:latin typeface="+mn-lt"/>
                <a:ea typeface="+mn-ea"/>
                <a:cs typeface="+mn-cs"/>
              </a:rPr>
              <a:t>desea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ofrecer</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nuestro</a:t>
            </a:r>
            <a:r>
              <a:rPr lang="en-US" sz="1200" b="0" i="0" kern="1200">
                <a:solidFill>
                  <a:schemeClr val="tx1"/>
                </a:solidFill>
                <a:effectLst/>
                <a:latin typeface="+mn-lt"/>
                <a:ea typeface="+mn-ea"/>
                <a:cs typeface="+mn-cs"/>
              </a:rPr>
              <a:t> sitio. </a:t>
            </a:r>
            <a:r>
              <a:rPr lang="en-US" sz="1200" b="0" i="0" kern="1200" err="1">
                <a:solidFill>
                  <a:schemeClr val="tx1"/>
                </a:solidFill>
                <a:effectLst/>
                <a:latin typeface="+mn-lt"/>
                <a:ea typeface="+mn-ea"/>
                <a:cs typeface="+mn-cs"/>
              </a:rPr>
              <a:t>Est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list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proporcion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toda</a:t>
            </a:r>
            <a:r>
              <a:rPr lang="en-US" sz="1200" b="0" i="0" kern="1200">
                <a:solidFill>
                  <a:schemeClr val="tx1"/>
                </a:solidFill>
                <a:effectLst/>
                <a:latin typeface="+mn-lt"/>
                <a:ea typeface="+mn-ea"/>
                <a:cs typeface="+mn-cs"/>
              </a:rPr>
              <a:t> la </a:t>
            </a:r>
            <a:r>
              <a:rPr lang="en-US" sz="1200" b="0" i="0" kern="1200" err="1">
                <a:solidFill>
                  <a:schemeClr val="tx1"/>
                </a:solidFill>
                <a:effectLst/>
                <a:latin typeface="+mn-lt"/>
                <a:ea typeface="+mn-ea"/>
                <a:cs typeface="+mn-cs"/>
              </a:rPr>
              <a:t>informaci</a:t>
            </a:r>
            <a:r>
              <a:rPr lang="es-ES" i="0" err="1"/>
              <a:t>ó</a:t>
            </a:r>
            <a:r>
              <a:rPr lang="en-US" sz="1200" b="0" i="0" kern="1200">
                <a:solidFill>
                  <a:schemeClr val="tx1"/>
                </a:solidFill>
                <a:effectLst/>
                <a:latin typeface="+mn-lt"/>
                <a:ea typeface="+mn-ea"/>
                <a:cs typeface="+mn-cs"/>
              </a:rPr>
              <a:t>n </a:t>
            </a:r>
            <a:r>
              <a:rPr lang="en-US" sz="1200" b="0" i="0" kern="1200" err="1">
                <a:solidFill>
                  <a:schemeClr val="tx1"/>
                </a:solidFill>
                <a:effectLst/>
                <a:latin typeface="+mn-lt"/>
                <a:ea typeface="+mn-ea"/>
                <a:cs typeface="+mn-cs"/>
              </a:rPr>
              <a:t>necesaria</a:t>
            </a:r>
            <a:r>
              <a:rPr lang="en-US" sz="1200" b="0" i="0" kern="1200">
                <a:solidFill>
                  <a:schemeClr val="tx1"/>
                </a:solidFill>
                <a:effectLst/>
                <a:latin typeface="+mn-lt"/>
                <a:ea typeface="+mn-ea"/>
                <a:cs typeface="+mn-cs"/>
              </a:rPr>
              <a:t> para </a:t>
            </a:r>
            <a:r>
              <a:rPr lang="en-US" sz="1200" b="0" i="0" kern="1200" err="1">
                <a:solidFill>
                  <a:schemeClr val="tx1"/>
                </a:solidFill>
                <a:effectLst/>
                <a:latin typeface="+mn-lt"/>
                <a:ea typeface="+mn-ea"/>
                <a:cs typeface="+mn-cs"/>
              </a:rPr>
              <a:t>posibl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olicitantes</a:t>
            </a:r>
            <a:r>
              <a:rPr lang="en-US" sz="1200" b="0" i="0" kern="1200">
                <a:solidFill>
                  <a:schemeClr val="tx1"/>
                </a:solidFill>
                <a:effectLst/>
                <a:latin typeface="+mn-lt"/>
                <a:ea typeface="+mn-ea"/>
                <a:cs typeface="+mn-cs"/>
              </a:rPr>
              <a:t>. Los </a:t>
            </a:r>
            <a:r>
              <a:rPr lang="en-US" sz="1200" b="0" i="0" kern="1200" err="1">
                <a:solidFill>
                  <a:schemeClr val="tx1"/>
                </a:solidFill>
                <a:effectLst/>
                <a:latin typeface="+mn-lt"/>
                <a:ea typeface="+mn-ea"/>
                <a:cs typeface="+mn-cs"/>
              </a:rPr>
              <a:t>estudiant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olicitantes</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bec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crean</a:t>
            </a:r>
            <a:r>
              <a:rPr lang="en-US" sz="1200" b="0" i="0" kern="1200">
                <a:solidFill>
                  <a:schemeClr val="tx1"/>
                </a:solidFill>
                <a:effectLst/>
                <a:latin typeface="+mn-lt"/>
                <a:ea typeface="+mn-ea"/>
                <a:cs typeface="+mn-cs"/>
              </a:rPr>
              <a:t> un </a:t>
            </a:r>
            <a:r>
              <a:rPr lang="en-US" sz="1200" b="0" i="0" kern="1200" err="1">
                <a:solidFill>
                  <a:schemeClr val="tx1"/>
                </a:solidFill>
                <a:effectLst/>
                <a:latin typeface="+mn-lt"/>
                <a:ea typeface="+mn-ea"/>
                <a:cs typeface="+mn-cs"/>
              </a:rPr>
              <a:t>perfil</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linea</a:t>
            </a:r>
            <a:r>
              <a:rPr lang="en-US" sz="1200" b="0" i="0" kern="1200">
                <a:solidFill>
                  <a:schemeClr val="tx1"/>
                </a:solidFill>
                <a:effectLst/>
                <a:latin typeface="+mn-lt"/>
                <a:ea typeface="+mn-ea"/>
                <a:cs typeface="+mn-cs"/>
              </a:rPr>
              <a:t>, que luego se </a:t>
            </a:r>
            <a:r>
              <a:rPr lang="en-US" sz="1200" b="0" i="0" kern="1200" err="1">
                <a:solidFill>
                  <a:schemeClr val="tx1"/>
                </a:solidFill>
                <a:effectLst/>
                <a:latin typeface="+mn-lt"/>
                <a:ea typeface="+mn-ea"/>
                <a:cs typeface="+mn-cs"/>
              </a:rPr>
              <a:t>comprara</a:t>
            </a:r>
            <a:r>
              <a:rPr lang="en-US" sz="1200" b="0" i="0" kern="1200">
                <a:solidFill>
                  <a:schemeClr val="tx1"/>
                </a:solidFill>
                <a:effectLst/>
                <a:latin typeface="+mn-lt"/>
                <a:ea typeface="+mn-ea"/>
                <a:cs typeface="+mn-cs"/>
              </a:rPr>
              <a:t> con </a:t>
            </a:r>
            <a:r>
              <a:rPr lang="en-US" sz="1200" b="0" i="0" kern="1200" err="1">
                <a:solidFill>
                  <a:schemeClr val="tx1"/>
                </a:solidFill>
                <a:effectLst/>
                <a:latin typeface="+mn-lt"/>
                <a:ea typeface="+mn-ea"/>
                <a:cs typeface="+mn-cs"/>
              </a:rPr>
              <a:t>todas</a:t>
            </a:r>
            <a:r>
              <a:rPr lang="en-US" sz="1200" b="0" i="0" kern="1200">
                <a:solidFill>
                  <a:schemeClr val="tx1"/>
                </a:solidFill>
                <a:effectLst/>
                <a:latin typeface="+mn-lt"/>
                <a:ea typeface="+mn-ea"/>
                <a:cs typeface="+mn-cs"/>
              </a:rPr>
              <a:t> las </a:t>
            </a:r>
            <a:r>
              <a:rPr lang="en-US" sz="1200" b="0" i="0" kern="1200" err="1">
                <a:solidFill>
                  <a:schemeClr val="tx1"/>
                </a:solidFill>
                <a:effectLst/>
                <a:latin typeface="+mn-lt"/>
                <a:ea typeface="+mn-ea"/>
                <a:cs typeface="+mn-cs"/>
              </a:rPr>
              <a:t>beca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disponibl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Inmediatamente</a:t>
            </a:r>
            <a:r>
              <a:rPr lang="en-US" sz="1200" b="0" i="0" kern="1200">
                <a:solidFill>
                  <a:schemeClr val="tx1"/>
                </a:solidFill>
                <a:effectLst/>
                <a:latin typeface="+mn-lt"/>
                <a:ea typeface="+mn-ea"/>
                <a:cs typeface="+mn-cs"/>
              </a:rPr>
              <a:t> se les </a:t>
            </a:r>
            <a:r>
              <a:rPr lang="en-US" sz="1200" b="0" i="0" kern="1200" err="1">
                <a:solidFill>
                  <a:schemeClr val="tx1"/>
                </a:solidFill>
                <a:effectLst/>
                <a:latin typeface="+mn-lt"/>
                <a:ea typeface="+mn-ea"/>
                <a:cs typeface="+mn-cs"/>
              </a:rPr>
              <a:t>muestr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en</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line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una</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lista</a:t>
            </a:r>
            <a:r>
              <a:rPr lang="en-US" sz="1200" b="0" i="0" kern="1200">
                <a:solidFill>
                  <a:schemeClr val="tx1"/>
                </a:solidFill>
                <a:effectLst/>
                <a:latin typeface="+mn-lt"/>
                <a:ea typeface="+mn-ea"/>
                <a:cs typeface="+mn-cs"/>
              </a:rPr>
              <a:t> de las </a:t>
            </a:r>
            <a:r>
              <a:rPr lang="en-US" sz="1200" b="0" i="0" kern="1200" err="1">
                <a:solidFill>
                  <a:schemeClr val="tx1"/>
                </a:solidFill>
                <a:effectLst/>
                <a:latin typeface="+mn-lt"/>
                <a:ea typeface="+mn-ea"/>
                <a:cs typeface="+mn-cs"/>
              </a:rPr>
              <a:t>mejores</a:t>
            </a:r>
            <a:r>
              <a:rPr lang="en-US" sz="1200" b="0" i="0" kern="1200">
                <a:solidFill>
                  <a:schemeClr val="tx1"/>
                </a:solidFill>
                <a:effectLst/>
                <a:latin typeface="+mn-lt"/>
                <a:ea typeface="+mn-ea"/>
                <a:cs typeface="+mn-cs"/>
              </a:rPr>
              <a:t> </a:t>
            </a:r>
            <a:r>
              <a:rPr lang="en-US" sz="1200" b="0" i="0" kern="1200" err="1">
                <a:solidFill>
                  <a:schemeClr val="tx1"/>
                </a:solidFill>
                <a:effectLst/>
                <a:latin typeface="+mn-lt"/>
                <a:ea typeface="+mn-ea"/>
                <a:cs typeface="+mn-cs"/>
              </a:rPr>
              <a:t>sugerencias</a:t>
            </a:r>
            <a:r>
              <a:rPr lang="en-US" sz="1200" b="0" i="0" kern="1200">
                <a:solidFill>
                  <a:schemeClr val="tx1"/>
                </a:solidFill>
                <a:effectLst/>
                <a:latin typeface="+mn-lt"/>
                <a:ea typeface="+mn-ea"/>
                <a:cs typeface="+mn-cs"/>
              </a:rPr>
              <a:t> de </a:t>
            </a:r>
            <a:r>
              <a:rPr lang="en-US" sz="1200" b="0" i="0" kern="1200" err="1">
                <a:solidFill>
                  <a:schemeClr val="tx1"/>
                </a:solidFill>
                <a:effectLst/>
                <a:latin typeface="+mn-lt"/>
                <a:ea typeface="+mn-ea"/>
                <a:cs typeface="+mn-cs"/>
              </a:rPr>
              <a:t>becas</a:t>
            </a:r>
            <a:r>
              <a:rPr lang="en-US" sz="1200" b="0" i="0" kern="1200">
                <a:solidFill>
                  <a:schemeClr val="tx1"/>
                </a:solidFill>
                <a:effectLst/>
                <a:latin typeface="+mn-lt"/>
                <a:ea typeface="+mn-ea"/>
                <a:cs typeface="+mn-cs"/>
              </a:rPr>
              <a:t> del </a:t>
            </a:r>
            <a:r>
              <a:rPr lang="en-US" sz="1200" b="0" i="0" kern="1200" err="1">
                <a:solidFill>
                  <a:schemeClr val="tx1"/>
                </a:solidFill>
                <a:effectLst/>
                <a:latin typeface="+mn-lt"/>
                <a:ea typeface="+mn-ea"/>
                <a:cs typeface="+mn-cs"/>
              </a:rPr>
              <a:t>buscador</a:t>
            </a:r>
            <a:r>
              <a:rPr lang="en-US" sz="1200" b="0" i="0" kern="1200">
                <a:solidFill>
                  <a:schemeClr val="tx1"/>
                </a:solidFill>
                <a:effectLst/>
                <a:latin typeface="+mn-lt"/>
                <a:ea typeface="+mn-ea"/>
                <a:cs typeface="+mn-cs"/>
              </a:rPr>
              <a:t>. El</a:t>
            </a:r>
            <a:r>
              <a:rPr lang="es-ES" i="0"/>
              <a:t> buscador crea una aplicación para sus sugerencias después de leer los detalles provistos. Los solicitantes pueden solicitar tantas becas como elijan. El solicitante de la beca </a:t>
            </a:r>
            <a:r>
              <a:rPr lang="es-ES" i="0" err="1"/>
              <a:t>envia</a:t>
            </a:r>
            <a:r>
              <a:rPr lang="es-ES" i="0"/>
              <a:t> una solicitud al proveedor ya sea por correo, por sitio web o utilizando theWashBoard.org como anfitrión de la solicitud electrónica. El proveedor revisa sus aplicaciones. Si theWashBoard.org sirve como servidor electr</a:t>
            </a:r>
            <a:r>
              <a:rPr lang="es-ES"/>
              <a:t>ó</a:t>
            </a:r>
            <a:r>
              <a:rPr lang="es-ES" i="0"/>
              <a:t>nico</a:t>
            </a:r>
            <a:r>
              <a:rPr lang="es-ES"/>
              <a:t>, el proveedor puede revisar las solicitudes en línea o descargarlas e imprimirlas. El sitio también se puede utilizar para enviar correos electrónicos a los solicitantes sobre el estado de su beca.</a:t>
            </a:r>
            <a:endParaRPr lang="es-ES" i="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a:solidFill>
                  <a:schemeClr val="tx1"/>
                </a:solidFill>
                <a:effectLst/>
                <a:latin typeface="+mn-lt"/>
                <a:ea typeface="+mn-ea"/>
                <a:cs typeface="+mn-cs"/>
              </a:rPr>
              <a:t>Looking for scholarships? theWashBoard.org makes it simple.</a:t>
            </a:r>
            <a:br>
              <a:rPr lang="en-US"/>
            </a:br>
            <a:r>
              <a:rPr lang="en-US" sz="1200" b="0" i="1" kern="1200">
                <a:solidFill>
                  <a:schemeClr val="tx1"/>
                </a:solidFill>
                <a:effectLst/>
                <a:latin typeface="+mn-lt"/>
                <a:ea typeface="+mn-ea"/>
                <a:cs typeface="+mn-cs"/>
              </a:rPr>
              <a:t>The Washboard connects Washington students of all types with Washington scholarship providers….for FREE.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1" kern="1200">
                <a:solidFill>
                  <a:schemeClr val="tx1"/>
                </a:solidFill>
                <a:effectLst/>
                <a:latin typeface="+mn-lt"/>
                <a:ea typeface="+mn-ea"/>
                <a:cs typeface="+mn-cs"/>
              </a:rPr>
              <a:t>Whether you’ll be attending in state or out, you save time by entering your profile once and letting us find the scholarship opportunities that fit. theWashBoard.org is spam-free and will never sell your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How does it work? Scholarship providers build a listing for each scholarship they want to offer on our site. This listing provides all the necessary information for potential applicants. Students-scholarship seekers-create a profile online, which is then compared to all available scholarships. A list of the seeker’s best scholarship matches is immediately displayed to them online. The seeker creates an application for their matches after reading the details provided. Seekers can apply for as many scholarships as they choose. The scholarship seeker submits an application to the provider either by mail, by website, or by using theWashBoard.org as the electronic application host. The provider reviews their applications. If theWashBoard.org serves as the electronic host, the provider can review applications online or download and print. The site can also be used to email applicants about their scholarship status </a:t>
            </a:r>
            <a:endParaRPr lang="en-US" sz="1200" b="0" i="1"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1" kern="1200">
              <a:solidFill>
                <a:schemeClr val="tx1"/>
              </a:solidFill>
              <a:effectLst/>
              <a:latin typeface="+mn-lt"/>
              <a:ea typeface="+mn-ea"/>
              <a:cs typeface="+mn-cs"/>
            </a:endParaRPr>
          </a:p>
          <a:p>
            <a:endParaRPr lang="en-US"/>
          </a:p>
        </p:txBody>
      </p:sp>
      <p:sp>
        <p:nvSpPr>
          <p:cNvPr id="4" name="Slide Number Placeholder 3"/>
          <p:cNvSpPr>
            <a:spLocks noGrp="1"/>
          </p:cNvSpPr>
          <p:nvPr>
            <p:ph type="sldNum" sz="quarter" idx="5"/>
          </p:nvPr>
        </p:nvSpPr>
        <p:spPr/>
        <p:txBody>
          <a:bodyPr/>
          <a:lstStyle/>
          <a:p>
            <a:fld id="{F183822A-29A8-4DE4-8EB5-04095DD45EA7}" type="slidenum">
              <a:rPr lang="en-US" smtClean="0"/>
              <a:t>9</a:t>
            </a:fld>
            <a:endParaRPr lang="en-US"/>
          </a:p>
        </p:txBody>
      </p:sp>
    </p:spTree>
    <p:extLst>
      <p:ext uri="{BB962C8B-B14F-4D97-AF65-F5344CB8AC3E}">
        <p14:creationId xmlns:p14="http://schemas.microsoft.com/office/powerpoint/2010/main" val="5309200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2" name="Freeform 11"/>
          <p:cNvSpPr>
            <a:spLocks noChangeArrowheads="1"/>
          </p:cNvSpPr>
          <p:nvPr/>
        </p:nvSpPr>
        <p:spPr bwMode="white">
          <a:xfrm>
            <a:off x="8429022" y="0"/>
            <a:ext cx="3762978" cy="6858000"/>
          </a:xfrm>
          <a:custGeom>
            <a:avLst/>
            <a:gdLst>
              <a:gd name="connsiteX0" fmla="*/ 0 w 3762978"/>
              <a:gd name="connsiteY0" fmla="*/ 0 h 6858000"/>
              <a:gd name="connsiteX1" fmla="*/ 3762978 w 3762978"/>
              <a:gd name="connsiteY1" fmla="*/ 0 h 6858000"/>
              <a:gd name="connsiteX2" fmla="*/ 3762978 w 3762978"/>
              <a:gd name="connsiteY2" fmla="*/ 6858000 h 6858000"/>
              <a:gd name="connsiteX3" fmla="*/ 338667 w 3762978"/>
              <a:gd name="connsiteY3" fmla="*/ 6858000 h 6858000"/>
              <a:gd name="connsiteX4" fmla="*/ 1189567 w 3762978"/>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2978" h="6858000">
                <a:moveTo>
                  <a:pt x="0" y="0"/>
                </a:moveTo>
                <a:lnTo>
                  <a:pt x="3762978" y="0"/>
                </a:lnTo>
                <a:lnTo>
                  <a:pt x="3762978" y="6858000"/>
                </a:lnTo>
                <a:lnTo>
                  <a:pt x="338667" y="6858000"/>
                </a:lnTo>
                <a:lnTo>
                  <a:pt x="1189567" y="4337050"/>
                </a:ln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en-US" sz="1800"/>
          </a:p>
        </p:txBody>
      </p:sp>
      <p:sp>
        <p:nvSpPr>
          <p:cNvPr id="7" name="Freeform 6"/>
          <p:cNvSpPr>
            <a:spLocks/>
          </p:cNvSpPr>
          <p:nvPr/>
        </p:nvSpPr>
        <p:spPr bwMode="auto">
          <a:xfrm>
            <a:off x="8145385"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bodyPr>
          <a:lstStyle/>
          <a:p>
            <a:pPr lvl="0"/>
            <a:endParaRPr lang="en-US" sz="1800"/>
          </a:p>
        </p:txBody>
      </p:sp>
      <p:sp>
        <p:nvSpPr>
          <p:cNvPr id="8" name="Freeform 7"/>
          <p:cNvSpPr>
            <a:spLocks/>
          </p:cNvSpPr>
          <p:nvPr/>
        </p:nvSpPr>
        <p:spPr bwMode="auto">
          <a:xfrm>
            <a:off x="7950653" y="0"/>
            <a:ext cx="1528232" cy="6858000"/>
          </a:xfrm>
          <a:custGeom>
            <a:avLst/>
            <a:gdLst/>
            <a:ahLst/>
            <a:cxnLst/>
            <a:rect l="l" t="t" r="r" b="b"/>
            <a:pathLst>
              <a:path w="1146174" h="6858000">
                <a:moveTo>
                  <a:pt x="0" y="0"/>
                </a:moveTo>
                <a:lnTo>
                  <a:pt x="253999" y="0"/>
                </a:lnTo>
                <a:lnTo>
                  <a:pt x="1146174" y="4337050"/>
                </a:lnTo>
                <a:lnTo>
                  <a:pt x="511174" y="6858000"/>
                </a:lnTo>
                <a:lnTo>
                  <a:pt x="254000" y="6858000"/>
                </a:lnTo>
                <a:lnTo>
                  <a:pt x="892175" y="4337050"/>
                </a:lnTo>
                <a:close/>
              </a:path>
            </a:pathLst>
          </a:custGeom>
          <a:solidFill>
            <a:schemeClr val="accent1"/>
          </a:solidFill>
          <a:ln>
            <a:noFill/>
          </a:ln>
          <a:effectLst>
            <a:innerShdw blurRad="1778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2" name="Title 1"/>
          <p:cNvSpPr>
            <a:spLocks noGrp="1"/>
          </p:cNvSpPr>
          <p:nvPr>
            <p:ph type="ctrTitle"/>
          </p:nvPr>
        </p:nvSpPr>
        <p:spPr>
          <a:xfrm>
            <a:off x="1295400" y="1873584"/>
            <a:ext cx="6400800" cy="2560320"/>
          </a:xfrm>
        </p:spPr>
        <p:txBody>
          <a:bodyPr anchor="b">
            <a:normAutofit/>
          </a:bodyPr>
          <a:lstStyle>
            <a:lvl1pPr algn="l">
              <a:defRPr sz="4000">
                <a:solidFill>
                  <a:schemeClr val="tx1"/>
                </a:solidFill>
                <a:latin typeface="Tw Cen MT Condensed Extra Bold" panose="020B0803020202020204" pitchFamily="34" charset="0"/>
              </a:defRPr>
            </a:lvl1pPr>
          </a:lstStyle>
          <a:p>
            <a:r>
              <a:rPr lang="en-US"/>
              <a:t>Click to edit Master title style</a:t>
            </a:r>
          </a:p>
        </p:txBody>
      </p:sp>
      <p:sp>
        <p:nvSpPr>
          <p:cNvPr id="3" name="Subtitle 2"/>
          <p:cNvSpPr>
            <a:spLocks noGrp="1"/>
          </p:cNvSpPr>
          <p:nvPr>
            <p:ph type="subTitle" idx="1"/>
          </p:nvPr>
        </p:nvSpPr>
        <p:spPr>
          <a:xfrm>
            <a:off x="1295400" y="4572000"/>
            <a:ext cx="6400800" cy="1600200"/>
          </a:xfrm>
        </p:spPr>
        <p:txBody>
          <a:bodyPr/>
          <a:lstStyle>
            <a:lvl1pPr marL="0" indent="0" algn="l">
              <a:spcBef>
                <a:spcPts val="12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695622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95400" y="255134"/>
            <a:ext cx="9601200" cy="1036850"/>
          </a:xfrm>
        </p:spPr>
        <p:txBody>
          <a:bodyPr anchor="b">
            <a:normAutofit/>
          </a:bodyPr>
          <a:lstStyle>
            <a:lvl1pPr>
              <a:defRPr sz="2800"/>
            </a:lvl1pPr>
          </a:lstStyle>
          <a:p>
            <a:r>
              <a:rPr lang="en-US"/>
              <a:t>Click to edit Master title style</a:t>
            </a:r>
          </a:p>
        </p:txBody>
      </p:sp>
      <p:sp>
        <p:nvSpPr>
          <p:cNvPr id="3" name="Picture Placeholder 2"/>
          <p:cNvSpPr>
            <a:spLocks noGrp="1"/>
          </p:cNvSpPr>
          <p:nvPr>
            <p:ph type="pic" idx="1"/>
          </p:nvPr>
        </p:nvSpPr>
        <p:spPr>
          <a:xfrm>
            <a:off x="4724400" y="1828801"/>
            <a:ext cx="6172200" cy="4343400"/>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295400" y="1828800"/>
            <a:ext cx="3017520" cy="4343400"/>
          </a:xfrm>
        </p:spPr>
        <p:txBody>
          <a:bodyPr anchor="ctr">
            <a:normAutofit/>
          </a:bodyPr>
          <a:lstStyle>
            <a:lvl1pPr marL="0" indent="0">
              <a:spcBef>
                <a:spcPts val="1200"/>
              </a:spcBef>
              <a:buNone/>
              <a:defRPr sz="20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23946219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Two Pictures with Captions">
    <p:spTree>
      <p:nvGrpSpPr>
        <p:cNvPr id="1" name=""/>
        <p:cNvGrpSpPr/>
        <p:nvPr/>
      </p:nvGrpSpPr>
      <p:grpSpPr>
        <a:xfrm>
          <a:off x="0" y="0"/>
          <a:ext cx="0" cy="0"/>
          <a:chOff x="0" y="0"/>
          <a:chExt cx="0" cy="0"/>
        </a:xfrm>
      </p:grpSpPr>
      <p:sp>
        <p:nvSpPr>
          <p:cNvPr id="9" name="Rectangle 8"/>
          <p:cNvSpPr/>
          <p:nvPr/>
        </p:nvSpPr>
        <p:spPr>
          <a:xfrm>
            <a:off x="1295400" y="5257800"/>
            <a:ext cx="45720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295400" y="255134"/>
            <a:ext cx="9601200" cy="1036850"/>
          </a:xfrm>
        </p:spPr>
        <p:txBody>
          <a:bodyPr anchor="b">
            <a:normAutofit/>
          </a:bodyPr>
          <a:lstStyle>
            <a:lvl1pPr>
              <a:defRPr sz="2800"/>
            </a:lvl1pPr>
          </a:lstStyle>
          <a:p>
            <a:r>
              <a:rPr lang="en-US"/>
              <a:t>Click to edit Master title style</a:t>
            </a:r>
          </a:p>
        </p:txBody>
      </p:sp>
      <p:sp>
        <p:nvSpPr>
          <p:cNvPr id="4" name="Text Placeholder 3"/>
          <p:cNvSpPr>
            <a:spLocks noGrp="1"/>
          </p:cNvSpPr>
          <p:nvPr>
            <p:ph type="body" sz="half" idx="2"/>
          </p:nvPr>
        </p:nvSpPr>
        <p:spPr>
          <a:xfrm>
            <a:off x="1371273" y="5333098"/>
            <a:ext cx="4420252" cy="839102"/>
          </a:xfrm>
        </p:spPr>
        <p:txBody>
          <a:bodyPr anchor="t">
            <a:normAutofit/>
          </a:bodyPr>
          <a:lstStyle>
            <a:lvl1pPr marL="0" indent="0">
              <a:spcBef>
                <a:spcPts val="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791449" y="6374999"/>
            <a:ext cx="1480705" cy="274320"/>
          </a:xfrm>
          <a:prstGeom prst="rect">
            <a:avLst/>
          </a:prstGeom>
        </p:spPr>
        <p:txBody>
          <a:bodyPr/>
          <a:lstStyle/>
          <a:p>
            <a:endParaRPr lang="en-US"/>
          </a:p>
        </p:txBody>
      </p:sp>
      <p:sp>
        <p:nvSpPr>
          <p:cNvPr id="6" name="Footer Placeholder 5"/>
          <p:cNvSpPr>
            <a:spLocks noGrp="1"/>
          </p:cNvSpPr>
          <p:nvPr>
            <p:ph type="ftr" sz="quarter" idx="11"/>
          </p:nvPr>
        </p:nvSpPr>
        <p:spPr>
          <a:xfrm>
            <a:off x="1295399" y="6374999"/>
            <a:ext cx="6243203" cy="274320"/>
          </a:xfrm>
          <a:prstGeom prst="rect">
            <a:avLst/>
          </a:prstGeom>
        </p:spPr>
        <p:txBody>
          <a:bodyPr/>
          <a:lstStyle/>
          <a:p>
            <a:endParaRPr lang="en-US"/>
          </a:p>
        </p:txBody>
      </p:sp>
      <p:sp>
        <p:nvSpPr>
          <p:cNvPr id="7" name="Slide Number Placeholder 6"/>
          <p:cNvSpPr>
            <a:spLocks noGrp="1"/>
          </p:cNvSpPr>
          <p:nvPr>
            <p:ph type="sldNum" sz="quarter" idx="12"/>
          </p:nvPr>
        </p:nvSpPr>
        <p:spPr>
          <a:xfrm>
            <a:off x="9525000" y="6374999"/>
            <a:ext cx="1371600" cy="274320"/>
          </a:xfrm>
          <a:prstGeom prst="rect">
            <a:avLst/>
          </a:prstGeom>
        </p:spPr>
        <p:txBody>
          <a:bodyPr/>
          <a:lstStyle/>
          <a:p>
            <a:fld id="{A7F8E3F6-DE14-48B2-B2BC-6FABA9630FB8}" type="slidenum">
              <a:rPr lang="en-US" smtClean="0"/>
              <a:t>‹#›</a:t>
            </a:fld>
            <a:endParaRPr lang="en-US"/>
          </a:p>
        </p:txBody>
      </p:sp>
      <p:sp>
        <p:nvSpPr>
          <p:cNvPr id="10" name="Rectangle 9"/>
          <p:cNvSpPr/>
          <p:nvPr/>
        </p:nvSpPr>
        <p:spPr>
          <a:xfrm>
            <a:off x="6324599" y="5257800"/>
            <a:ext cx="4572000" cy="914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1295400" y="5257800"/>
            <a:ext cx="4572000" cy="54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p:cNvSpPr/>
          <p:nvPr/>
        </p:nvSpPr>
        <p:spPr>
          <a:xfrm>
            <a:off x="6324599" y="5257800"/>
            <a:ext cx="4572000" cy="548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Text Placeholder 3"/>
          <p:cNvSpPr>
            <a:spLocks noGrp="1"/>
          </p:cNvSpPr>
          <p:nvPr>
            <p:ph type="body" sz="half" idx="14"/>
          </p:nvPr>
        </p:nvSpPr>
        <p:spPr>
          <a:xfrm>
            <a:off x="6412954" y="5333098"/>
            <a:ext cx="4420252" cy="839102"/>
          </a:xfrm>
        </p:spPr>
        <p:txBody>
          <a:bodyPr anchor="t">
            <a:normAutofit/>
          </a:bodyPr>
          <a:lstStyle>
            <a:lvl1pPr marL="0" indent="0">
              <a:spcBef>
                <a:spcPts val="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a:xfrm>
            <a:off x="1295400" y="1828801"/>
            <a:ext cx="4572000" cy="3428999"/>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8" name="Picture Placeholder 2"/>
          <p:cNvSpPr>
            <a:spLocks noGrp="1"/>
          </p:cNvSpPr>
          <p:nvPr>
            <p:ph type="pic" idx="13"/>
          </p:nvPr>
        </p:nvSpPr>
        <p:spPr>
          <a:xfrm>
            <a:off x="6324600" y="1828801"/>
            <a:ext cx="4572000" cy="3428999"/>
          </a:xfrm>
        </p:spPr>
        <p:txBody>
          <a:bodyPr tIns="274320">
            <a:normAutofit/>
          </a:bodyPr>
          <a:lstStyle>
            <a:lvl1pPr marL="0" indent="0" algn="ctr">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1644165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791449" y="6374999"/>
            <a:ext cx="1480705" cy="274320"/>
          </a:xfrm>
          <a:prstGeom prst="rect">
            <a:avLst/>
          </a:prstGeom>
        </p:spPr>
        <p:txBody>
          <a:bodyPr/>
          <a:lstStyle/>
          <a:p>
            <a:endParaRPr lang="en-US"/>
          </a:p>
        </p:txBody>
      </p:sp>
      <p:sp>
        <p:nvSpPr>
          <p:cNvPr id="5" name="Footer Placeholder 4"/>
          <p:cNvSpPr>
            <a:spLocks noGrp="1"/>
          </p:cNvSpPr>
          <p:nvPr>
            <p:ph type="ftr" sz="quarter" idx="11"/>
          </p:nvPr>
        </p:nvSpPr>
        <p:spPr>
          <a:xfrm>
            <a:off x="1295399" y="6374999"/>
            <a:ext cx="6243203" cy="274320"/>
          </a:xfrm>
          <a:prstGeom prst="rect">
            <a:avLst/>
          </a:prstGeom>
        </p:spPr>
        <p:txBody>
          <a:bodyPr/>
          <a:lstStyle/>
          <a:p>
            <a:endParaRPr lang="en-US"/>
          </a:p>
        </p:txBody>
      </p:sp>
      <p:sp>
        <p:nvSpPr>
          <p:cNvPr id="6" name="Slide Number Placeholder 5"/>
          <p:cNvSpPr>
            <a:spLocks noGrp="1"/>
          </p:cNvSpPr>
          <p:nvPr>
            <p:ph type="sldNum" sz="quarter" idx="12"/>
          </p:nvPr>
        </p:nvSpPr>
        <p:spPr>
          <a:xfrm>
            <a:off x="9525000" y="6374999"/>
            <a:ext cx="1371600" cy="274320"/>
          </a:xfrm>
          <a:prstGeom prst="rect">
            <a:avLst/>
          </a:prstGeom>
        </p:spPr>
        <p:txBody>
          <a:bodyPr/>
          <a:lstStyle/>
          <a:p>
            <a:fld id="{A7F8E3F6-DE14-48B2-B2BC-6FABA9630FB8}" type="slidenum">
              <a:rPr lang="en-US" smtClean="0"/>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697360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white">
          <a:xfrm rot="5400000">
            <a:off x="7562850" y="2228850"/>
            <a:ext cx="6858000" cy="2400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rot="5400000">
            <a:off x="6331230" y="3387909"/>
            <a:ext cx="6858000" cy="821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rot="5400000">
            <a:off x="6251613" y="3387909"/>
            <a:ext cx="6858000" cy="821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a:off x="9871318" y="1378252"/>
            <a:ext cx="1033272"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295400" y="685800"/>
            <a:ext cx="7976754" cy="5486400"/>
          </a:xfrm>
        </p:spPr>
        <p:txBody>
          <a:bodyPr vert="eaVert"/>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7791449" y="6374999"/>
            <a:ext cx="1480705" cy="274320"/>
          </a:xfrm>
          <a:prstGeom prst="rect">
            <a:avLst/>
          </a:prstGeom>
        </p:spPr>
        <p:txBody>
          <a:bodyPr/>
          <a:lstStyle/>
          <a:p>
            <a:endParaRPr lang="en-US"/>
          </a:p>
        </p:txBody>
      </p:sp>
      <p:sp>
        <p:nvSpPr>
          <p:cNvPr id="5" name="Footer Placeholder 4"/>
          <p:cNvSpPr>
            <a:spLocks noGrp="1"/>
          </p:cNvSpPr>
          <p:nvPr>
            <p:ph type="ftr" sz="quarter" idx="11"/>
          </p:nvPr>
        </p:nvSpPr>
        <p:spPr>
          <a:xfrm>
            <a:off x="1295399" y="6374999"/>
            <a:ext cx="6243203" cy="274320"/>
          </a:xfrm>
          <a:prstGeom prst="rect">
            <a:avLst/>
          </a:prstGeom>
        </p:spPr>
        <p:txBody>
          <a:bodyPr/>
          <a:lstStyle/>
          <a:p>
            <a:endParaRPr lang="en-US"/>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3899781">
            <a:off x="10097457" y="158639"/>
            <a:ext cx="904995" cy="1054322"/>
          </a:xfrm>
          <a:prstGeom prst="rect">
            <a:avLst/>
          </a:prstGeom>
        </p:spPr>
      </p:pic>
    </p:spTree>
    <p:extLst>
      <p:ext uri="{BB962C8B-B14F-4D97-AF65-F5344CB8AC3E}">
        <p14:creationId xmlns:p14="http://schemas.microsoft.com/office/powerpoint/2010/main" val="35015183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Section Header">
    <p:spTree>
      <p:nvGrpSpPr>
        <p:cNvPr id="1" name=""/>
        <p:cNvGrpSpPr/>
        <p:nvPr/>
      </p:nvGrpSpPr>
      <p:grpSpPr>
        <a:xfrm>
          <a:off x="0" y="0"/>
          <a:ext cx="0" cy="0"/>
          <a:chOff x="0" y="0"/>
          <a:chExt cx="0" cy="0"/>
        </a:xfrm>
      </p:grpSpPr>
      <p:sp>
        <p:nvSpPr>
          <p:cNvPr id="8" name="Rectangle 7"/>
          <p:cNvSpPr/>
          <p:nvPr/>
        </p:nvSpPr>
        <p:spPr>
          <a:xfrm>
            <a:off x="1600199" y="2059146"/>
            <a:ext cx="7199696" cy="3886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2" name="Title 1"/>
          <p:cNvSpPr>
            <a:spLocks noGrp="1"/>
          </p:cNvSpPr>
          <p:nvPr>
            <p:ph type="title"/>
          </p:nvPr>
        </p:nvSpPr>
        <p:spPr>
          <a:xfrm>
            <a:off x="1751777" y="2263913"/>
            <a:ext cx="6949440" cy="3143393"/>
          </a:xfrm>
        </p:spPr>
        <p:txBody>
          <a:bodyPr anchor="b"/>
          <a:lstStyle>
            <a:lvl1pPr>
              <a:defRPr sz="6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751777" y="5381893"/>
            <a:ext cx="6949440" cy="449523"/>
          </a:xfrm>
        </p:spPr>
        <p:txBody>
          <a:bodyPr/>
          <a:lstStyle>
            <a:lvl1pPr marL="0" indent="0">
              <a:spcBef>
                <a:spcPts val="0"/>
              </a:spcBef>
              <a:buNone/>
              <a:defRPr sz="2400">
                <a:solidFill>
                  <a:schemeClr val="bg1"/>
                </a:solidFill>
              </a:defRPr>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12" name="Picture Placeholder 11"/>
          <p:cNvSpPr>
            <a:spLocks noGrp="1"/>
          </p:cNvSpPr>
          <p:nvPr>
            <p:ph type="pic" sz="quarter" idx="11"/>
          </p:nvPr>
        </p:nvSpPr>
        <p:spPr>
          <a:xfrm>
            <a:off x="0" y="2058987"/>
            <a:ext cx="1470025" cy="3886359"/>
          </a:xfrm>
        </p:spPr>
        <p:txBody>
          <a:bodyPr/>
          <a:lstStyle/>
          <a:p>
            <a:endParaRPr lang="en-US"/>
          </a:p>
        </p:txBody>
      </p:sp>
      <p:sp>
        <p:nvSpPr>
          <p:cNvPr id="14" name="Picture Placeholder 13"/>
          <p:cNvSpPr>
            <a:spLocks noGrp="1"/>
          </p:cNvSpPr>
          <p:nvPr>
            <p:ph type="pic" sz="quarter" idx="12"/>
          </p:nvPr>
        </p:nvSpPr>
        <p:spPr>
          <a:xfrm>
            <a:off x="8930069" y="2058988"/>
            <a:ext cx="3261931" cy="3886358"/>
          </a:xfrm>
        </p:spPr>
        <p:txBody>
          <a:bodyPr/>
          <a:lstStyle/>
          <a:p>
            <a:endParaRPr lang="en-US"/>
          </a:p>
        </p:txBody>
      </p:sp>
    </p:spTree>
    <p:extLst>
      <p:ext uri="{BB962C8B-B14F-4D97-AF65-F5344CB8AC3E}">
        <p14:creationId xmlns:p14="http://schemas.microsoft.com/office/powerpoint/2010/main" val="41677849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orient="horz" pos="3768">
          <p15:clr>
            <a:srgbClr val="FDE53C"/>
          </p15:clr>
        </p15:guide>
        <p15:guide id="2" orient="horz" pos="1296">
          <p15:clr>
            <a:srgbClr val="FDE53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8F207-CF19-A54F-ABBB-D934E6A06614}"/>
              </a:ext>
            </a:extLst>
          </p:cNvPr>
          <p:cNvSpPr>
            <a:spLocks noGrp="1"/>
          </p:cNvSpPr>
          <p:nvPr>
            <p:ph type="ctrTitle"/>
          </p:nvPr>
        </p:nvSpPr>
        <p:spPr>
          <a:xfrm>
            <a:off x="1524000" y="914400"/>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EA17D9-D0F5-CC40-9F87-7C17DBBDCE3A}"/>
              </a:ext>
            </a:extLst>
          </p:cNvPr>
          <p:cNvSpPr>
            <a:spLocks noGrp="1"/>
          </p:cNvSpPr>
          <p:nvPr>
            <p:ph type="subTitle" idx="1"/>
          </p:nvPr>
        </p:nvSpPr>
        <p:spPr>
          <a:xfrm>
            <a:off x="1524000" y="3422107"/>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Date Placeholder 3">
            <a:extLst>
              <a:ext uri="{FF2B5EF4-FFF2-40B4-BE49-F238E27FC236}">
                <a16:creationId xmlns:a16="http://schemas.microsoft.com/office/drawing/2014/main" id="{876F0139-106E-2A4C-A4D7-0BC24E8A955A}"/>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13" name="Slide Number Placeholder 5">
            <a:extLst>
              <a:ext uri="{FF2B5EF4-FFF2-40B4-BE49-F238E27FC236}">
                <a16:creationId xmlns:a16="http://schemas.microsoft.com/office/drawing/2014/main" id="{22F87369-B945-5D4C-BA08-B93B655CF8E4}"/>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19315804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Title Placeholder 1">
            <a:extLst>
              <a:ext uri="{FF2B5EF4-FFF2-40B4-BE49-F238E27FC236}">
                <a16:creationId xmlns:a16="http://schemas.microsoft.com/office/drawing/2014/main" id="{A6689902-F536-6B48-91E5-678DDABDE55C}"/>
              </a:ext>
            </a:extLst>
          </p:cNvPr>
          <p:cNvSpPr>
            <a:spLocks noGrp="1"/>
          </p:cNvSpPr>
          <p:nvPr>
            <p:ph type="title"/>
          </p:nvPr>
        </p:nvSpPr>
        <p:spPr>
          <a:xfrm>
            <a:off x="838200" y="312398"/>
            <a:ext cx="10515600" cy="975066"/>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2">
            <a:extLst>
              <a:ext uri="{FF2B5EF4-FFF2-40B4-BE49-F238E27FC236}">
                <a16:creationId xmlns:a16="http://schemas.microsoft.com/office/drawing/2014/main" id="{FA9FB652-7F0F-F446-AD8C-427BE13F5F74}"/>
              </a:ext>
            </a:extLst>
          </p:cNvPr>
          <p:cNvSpPr>
            <a:spLocks noGrp="1"/>
          </p:cNvSpPr>
          <p:nvPr>
            <p:ph idx="1"/>
          </p:nvPr>
        </p:nvSpPr>
        <p:spPr>
          <a:xfrm>
            <a:off x="1018082" y="1462792"/>
            <a:ext cx="10515600" cy="40838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Date Placeholder 3">
            <a:extLst>
              <a:ext uri="{FF2B5EF4-FFF2-40B4-BE49-F238E27FC236}">
                <a16:creationId xmlns:a16="http://schemas.microsoft.com/office/drawing/2014/main" id="{A8AC17F5-4E86-EB48-AE8B-23B579E9B4EE}"/>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22" name="Slide Number Placeholder 5">
            <a:extLst>
              <a:ext uri="{FF2B5EF4-FFF2-40B4-BE49-F238E27FC236}">
                <a16:creationId xmlns:a16="http://schemas.microsoft.com/office/drawing/2014/main" id="{C43E6A1B-C6B1-3740-812C-0E6FC13CAC61}"/>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3280101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943DB-4E09-7348-B00D-9B36266379B1}"/>
              </a:ext>
            </a:extLst>
          </p:cNvPr>
          <p:cNvSpPr>
            <a:spLocks noGrp="1"/>
          </p:cNvSpPr>
          <p:nvPr>
            <p:ph type="title"/>
          </p:nvPr>
        </p:nvSpPr>
        <p:spPr>
          <a:xfrm>
            <a:off x="831850" y="914400"/>
            <a:ext cx="10515600" cy="1871662"/>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1BE9F53-389D-1F4A-B63B-9A0F6EC480D5}"/>
              </a:ext>
            </a:extLst>
          </p:cNvPr>
          <p:cNvSpPr>
            <a:spLocks noGrp="1"/>
          </p:cNvSpPr>
          <p:nvPr>
            <p:ph type="body" idx="1"/>
          </p:nvPr>
        </p:nvSpPr>
        <p:spPr>
          <a:xfrm>
            <a:off x="831850" y="2920673"/>
            <a:ext cx="10515600" cy="1776688"/>
          </a:xfrm>
          <a:prstGeom prst="rect">
            <a:avLst/>
          </a:prstGeom>
        </p:spPr>
        <p:txBody>
          <a:bodyPr/>
          <a:lstStyle>
            <a:lvl1pPr marL="0" indent="0">
              <a:buNone/>
              <a:defRPr sz="2400">
                <a:solidFill>
                  <a:srgbClr val="3D8EC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6" name="Date Placeholder 3">
            <a:extLst>
              <a:ext uri="{FF2B5EF4-FFF2-40B4-BE49-F238E27FC236}">
                <a16:creationId xmlns:a16="http://schemas.microsoft.com/office/drawing/2014/main" id="{B3D14CA9-7BE9-1741-B2B2-D699581A34A1}"/>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17" name="Slide Number Placeholder 5">
            <a:extLst>
              <a:ext uri="{FF2B5EF4-FFF2-40B4-BE49-F238E27FC236}">
                <a16:creationId xmlns:a16="http://schemas.microsoft.com/office/drawing/2014/main" id="{A291D55F-8C87-2742-9BBE-19200A01D763}"/>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5764194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Placeholder 1">
            <a:extLst>
              <a:ext uri="{FF2B5EF4-FFF2-40B4-BE49-F238E27FC236}">
                <a16:creationId xmlns:a16="http://schemas.microsoft.com/office/drawing/2014/main" id="{254B3CA8-C665-1D47-A1E2-2570900F7E67}"/>
              </a:ext>
            </a:extLst>
          </p:cNvPr>
          <p:cNvSpPr>
            <a:spLocks noGrp="1"/>
          </p:cNvSpPr>
          <p:nvPr>
            <p:ph type="title"/>
          </p:nvPr>
        </p:nvSpPr>
        <p:spPr>
          <a:xfrm>
            <a:off x="838200" y="312398"/>
            <a:ext cx="10515600" cy="975066"/>
          </a:xfrm>
          <a:prstGeom prst="rect">
            <a:avLst/>
          </a:prstGeom>
        </p:spPr>
        <p:txBody>
          <a:bodyPr vert="horz" lIns="91440" tIns="45720" rIns="91440" bIns="45720" rtlCol="0" anchor="ctr">
            <a:normAutofit/>
          </a:bodyPr>
          <a:lstStyle/>
          <a:p>
            <a:r>
              <a:rPr lang="en-US"/>
              <a:t>Click to edit Master title style</a:t>
            </a:r>
          </a:p>
        </p:txBody>
      </p:sp>
      <p:sp>
        <p:nvSpPr>
          <p:cNvPr id="16" name="Date Placeholder 3">
            <a:extLst>
              <a:ext uri="{FF2B5EF4-FFF2-40B4-BE49-F238E27FC236}">
                <a16:creationId xmlns:a16="http://schemas.microsoft.com/office/drawing/2014/main" id="{56A27D28-FA1A-1848-8888-92BBBEF2CF8C}"/>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17" name="Slide Number Placeholder 5">
            <a:extLst>
              <a:ext uri="{FF2B5EF4-FFF2-40B4-BE49-F238E27FC236}">
                <a16:creationId xmlns:a16="http://schemas.microsoft.com/office/drawing/2014/main" id="{58D34732-5FB9-8E43-9A5B-CFAA46C4E79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39580843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6" name="Date Placeholder 3">
            <a:extLst>
              <a:ext uri="{FF2B5EF4-FFF2-40B4-BE49-F238E27FC236}">
                <a16:creationId xmlns:a16="http://schemas.microsoft.com/office/drawing/2014/main" id="{0DE6218D-6FC9-CA48-8F1E-4E421570BB3B}"/>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17" name="Slide Number Placeholder 5">
            <a:extLst>
              <a:ext uri="{FF2B5EF4-FFF2-40B4-BE49-F238E27FC236}">
                <a16:creationId xmlns:a16="http://schemas.microsoft.com/office/drawing/2014/main" id="{5097C6E3-670C-B747-A462-FE4EF4E35512}"/>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
        <p:nvSpPr>
          <p:cNvPr id="19" name="Content Placeholder 2">
            <a:extLst>
              <a:ext uri="{FF2B5EF4-FFF2-40B4-BE49-F238E27FC236}">
                <a16:creationId xmlns:a16="http://schemas.microsoft.com/office/drawing/2014/main" id="{B2C02BB6-291E-CF43-938A-B721E60135C8}"/>
              </a:ext>
            </a:extLst>
          </p:cNvPr>
          <p:cNvSpPr>
            <a:spLocks noGrp="1"/>
          </p:cNvSpPr>
          <p:nvPr>
            <p:ph idx="1"/>
          </p:nvPr>
        </p:nvSpPr>
        <p:spPr>
          <a:xfrm>
            <a:off x="6096000" y="1600200"/>
            <a:ext cx="5233416" cy="4032504"/>
          </a:xfrm>
          <a:prstGeom prst="rect">
            <a:avLst/>
          </a:prstGeom>
        </p:spPr>
        <p:txBody>
          <a:bodyPr>
            <a:normAutofit/>
          </a:bodyPr>
          <a:lstStyle>
            <a:lvl1pPr marL="0" indent="0">
              <a:buNone/>
              <a:defRPr sz="1800"/>
            </a:lvl1pPr>
            <a:lvl2pPr marL="457200" indent="0">
              <a:buNone/>
              <a:defRPr sz="1800"/>
            </a:lvl2pPr>
            <a:lvl3pPr marL="914400" indent="0">
              <a:buNone/>
              <a:defRPr sz="1800"/>
            </a:lvl3pPr>
            <a:lvl4pPr marL="1371600" indent="0">
              <a:buNone/>
              <a:defRPr sz="1800"/>
            </a:lvl4pPr>
            <a:lvl5pPr marL="1828800" indent="0">
              <a:buNone/>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B0BA25A4-BBA2-C147-98F7-F2F76C566C42}"/>
              </a:ext>
            </a:extLst>
          </p:cNvPr>
          <p:cNvSpPr>
            <a:spLocks noGrp="1"/>
          </p:cNvSpPr>
          <p:nvPr>
            <p:ph idx="10"/>
          </p:nvPr>
        </p:nvSpPr>
        <p:spPr>
          <a:xfrm>
            <a:off x="838200" y="1600200"/>
            <a:ext cx="5050536" cy="4032504"/>
          </a:xfrm>
          <a:prstGeom prst="rect">
            <a:avLst/>
          </a:prstGeom>
        </p:spPr>
        <p:txBody>
          <a:bodyPr>
            <a:normAutofit/>
          </a:bodyPr>
          <a:lstStyle>
            <a:lvl1pPr marL="0" indent="0">
              <a:buNone/>
              <a:defRPr sz="24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p:txBody>
      </p:sp>
      <p:sp>
        <p:nvSpPr>
          <p:cNvPr id="21" name="Title 1">
            <a:extLst>
              <a:ext uri="{FF2B5EF4-FFF2-40B4-BE49-F238E27FC236}">
                <a16:creationId xmlns:a16="http://schemas.microsoft.com/office/drawing/2014/main" id="{EF73E4AA-87EB-6540-B879-034E147ADDC8}"/>
              </a:ext>
            </a:extLst>
          </p:cNvPr>
          <p:cNvSpPr>
            <a:spLocks noGrp="1"/>
          </p:cNvSpPr>
          <p:nvPr>
            <p:ph type="title"/>
          </p:nvPr>
        </p:nvSpPr>
        <p:spPr>
          <a:xfrm>
            <a:off x="838200" y="278948"/>
            <a:ext cx="10515600" cy="1038224"/>
          </a:xfrm>
        </p:spPr>
        <p:txBody>
          <a:bodyPr/>
          <a:lstStyle/>
          <a:p>
            <a:r>
              <a:rPr lang="en-US"/>
              <a:t>Click to edit Master title style</a:t>
            </a:r>
          </a:p>
        </p:txBody>
      </p:sp>
    </p:spTree>
    <p:extLst>
      <p:ext uri="{BB962C8B-B14F-4D97-AF65-F5344CB8AC3E}">
        <p14:creationId xmlns:p14="http://schemas.microsoft.com/office/powerpoint/2010/main" val="39832978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atin typeface="Tw Cen MT Condensed Extra Bold" panose="020B0803020202020204" pitchFamily="34" charset="0"/>
              </a:defRPr>
            </a:lvl1pPr>
          </a:lstStyle>
          <a:p>
            <a:r>
              <a:rPr lang="en-US"/>
              <a:t>Click to edit Master title style</a:t>
            </a:r>
          </a:p>
        </p:txBody>
      </p:sp>
      <p:sp>
        <p:nvSpPr>
          <p:cNvPr id="3" name="Content Placeholder 2"/>
          <p:cNvSpPr>
            <a:spLocks noGrp="1"/>
          </p:cNvSpPr>
          <p:nvPr>
            <p:ph idx="1"/>
          </p:nvPr>
        </p:nvSpPr>
        <p:spPr/>
        <p:txBody>
          <a:bodyPr>
            <a:normAutofit/>
          </a:bodyPr>
          <a:lstStyle>
            <a:lvl1pPr>
              <a:defRPr sz="3600">
                <a:latin typeface="Cambria" panose="02040503050406030204" pitchFamily="18" charset="0"/>
              </a:defRPr>
            </a:lvl1pPr>
            <a:lvl2pPr>
              <a:defRPr sz="3200">
                <a:latin typeface="Cambria" panose="02040503050406030204" pitchFamily="18" charset="0"/>
              </a:defRPr>
            </a:lvl2pPr>
            <a:lvl3pPr>
              <a:defRPr sz="2800">
                <a:latin typeface="Cambria" panose="02040503050406030204" pitchFamily="18" charset="0"/>
              </a:defRPr>
            </a:lvl3pPr>
            <a:lvl4pPr>
              <a:defRPr sz="2400">
                <a:latin typeface="Cambria" panose="02040503050406030204" pitchFamily="18" charset="0"/>
              </a:defRPr>
            </a:lvl4pPr>
            <a:lvl5pPr>
              <a:defRPr sz="2400">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41048906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B2DCE-C899-3042-8E66-A753FF983266}"/>
              </a:ext>
            </a:extLst>
          </p:cNvPr>
          <p:cNvSpPr>
            <a:spLocks noGrp="1"/>
          </p:cNvSpPr>
          <p:nvPr>
            <p:ph type="title"/>
          </p:nvPr>
        </p:nvSpPr>
        <p:spPr>
          <a:xfrm>
            <a:off x="839788" y="914400"/>
            <a:ext cx="3932237" cy="1228954"/>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1158C37-1FF0-0842-93DB-4578168CB354}"/>
              </a:ext>
            </a:extLst>
          </p:cNvPr>
          <p:cNvSpPr>
            <a:spLocks noGrp="1"/>
          </p:cNvSpPr>
          <p:nvPr>
            <p:ph idx="1"/>
          </p:nvPr>
        </p:nvSpPr>
        <p:spPr>
          <a:xfrm>
            <a:off x="5183188" y="914400"/>
            <a:ext cx="6172200" cy="4690618"/>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0140B73-0953-6347-BFC3-D5290D877311}"/>
              </a:ext>
            </a:extLst>
          </p:cNvPr>
          <p:cNvSpPr>
            <a:spLocks noGrp="1"/>
          </p:cNvSpPr>
          <p:nvPr>
            <p:ph type="body" sz="half" idx="2"/>
          </p:nvPr>
        </p:nvSpPr>
        <p:spPr>
          <a:xfrm>
            <a:off x="839788" y="2368961"/>
            <a:ext cx="3932237" cy="3236057"/>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7" name="Date Placeholder 3">
            <a:extLst>
              <a:ext uri="{FF2B5EF4-FFF2-40B4-BE49-F238E27FC236}">
                <a16:creationId xmlns:a16="http://schemas.microsoft.com/office/drawing/2014/main" id="{9DE9EACA-8D46-124A-B10C-7FCE873AE868}"/>
              </a:ext>
            </a:extLst>
          </p:cNvPr>
          <p:cNvSpPr>
            <a:spLocks noGrp="1"/>
          </p:cNvSpPr>
          <p:nvPr>
            <p:ph type="dt" sz="half" idx="10"/>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18" name="Slide Number Placeholder 5">
            <a:extLst>
              <a:ext uri="{FF2B5EF4-FFF2-40B4-BE49-F238E27FC236}">
                <a16:creationId xmlns:a16="http://schemas.microsoft.com/office/drawing/2014/main" id="{E0DD7325-A976-0A49-9589-9C9D34ADD0F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1544223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B2DCE-C899-3042-8E66-A753FF983266}"/>
              </a:ext>
            </a:extLst>
          </p:cNvPr>
          <p:cNvSpPr>
            <a:spLocks noGrp="1"/>
          </p:cNvSpPr>
          <p:nvPr>
            <p:ph type="title"/>
          </p:nvPr>
        </p:nvSpPr>
        <p:spPr>
          <a:xfrm>
            <a:off x="839788" y="1435608"/>
            <a:ext cx="5039804" cy="4169410"/>
          </a:xfrm>
        </p:spPr>
        <p:txBody>
          <a:bodyPr anchor="t" anchorCtr="0">
            <a:normAutofit/>
          </a:bodyPr>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31158C37-1FF0-0842-93DB-4578168CB354}"/>
              </a:ext>
            </a:extLst>
          </p:cNvPr>
          <p:cNvSpPr>
            <a:spLocks noGrp="1"/>
          </p:cNvSpPr>
          <p:nvPr>
            <p:ph idx="1"/>
          </p:nvPr>
        </p:nvSpPr>
        <p:spPr>
          <a:xfrm>
            <a:off x="6096000" y="1435608"/>
            <a:ext cx="5259388" cy="4169410"/>
          </a:xfrm>
          <a:prstGeom prst="rect">
            <a:avLst/>
          </a:prstGeom>
        </p:spPr>
        <p:txBody>
          <a:bodyPr>
            <a:normAutofit/>
          </a:bodyPr>
          <a:lstStyle>
            <a:lvl1pPr marL="0" indent="0">
              <a:buFontTx/>
              <a:buNone/>
              <a:defRPr sz="1800">
                <a:solidFill>
                  <a:srgbClr val="003366"/>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p:txBody>
      </p:sp>
      <p:sp>
        <p:nvSpPr>
          <p:cNvPr id="7" name="Date Placeholder 3">
            <a:extLst>
              <a:ext uri="{FF2B5EF4-FFF2-40B4-BE49-F238E27FC236}">
                <a16:creationId xmlns:a16="http://schemas.microsoft.com/office/drawing/2014/main" id="{2F4702D9-64DA-B647-A391-FB41EA20B765}"/>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8" name="Slide Number Placeholder 5">
            <a:extLst>
              <a:ext uri="{FF2B5EF4-FFF2-40B4-BE49-F238E27FC236}">
                <a16:creationId xmlns:a16="http://schemas.microsoft.com/office/drawing/2014/main" id="{97C341EC-99A2-C844-AF5E-DBF8C799A235}"/>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26938133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46D1BA2-B4CA-B34E-803C-9B9DB37E52BE}"/>
              </a:ext>
            </a:extLst>
          </p:cNvPr>
          <p:cNvSpPr>
            <a:spLocks noGrp="1"/>
          </p:cNvSpPr>
          <p:nvPr>
            <p:ph type="pic" idx="1"/>
          </p:nvPr>
        </p:nvSpPr>
        <p:spPr>
          <a:xfrm>
            <a:off x="5183188" y="1"/>
            <a:ext cx="7008812" cy="551835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8" name="Title 1">
            <a:extLst>
              <a:ext uri="{FF2B5EF4-FFF2-40B4-BE49-F238E27FC236}">
                <a16:creationId xmlns:a16="http://schemas.microsoft.com/office/drawing/2014/main" id="{C6DF3456-3DAD-CA47-B927-08A74F6E9322}"/>
              </a:ext>
            </a:extLst>
          </p:cNvPr>
          <p:cNvSpPr>
            <a:spLocks noGrp="1"/>
          </p:cNvSpPr>
          <p:nvPr>
            <p:ph type="title"/>
          </p:nvPr>
        </p:nvSpPr>
        <p:spPr>
          <a:xfrm>
            <a:off x="839788" y="914400"/>
            <a:ext cx="3932237" cy="1228954"/>
          </a:xfrm>
        </p:spPr>
        <p:txBody>
          <a:bodyPr anchor="b"/>
          <a:lstStyle>
            <a:lvl1pPr>
              <a:defRPr sz="3200"/>
            </a:lvl1pPr>
          </a:lstStyle>
          <a:p>
            <a:r>
              <a:rPr lang="en-US"/>
              <a:t>Click to edit Master title style</a:t>
            </a:r>
          </a:p>
        </p:txBody>
      </p:sp>
      <p:sp>
        <p:nvSpPr>
          <p:cNvPr id="9" name="Text Placeholder 3">
            <a:extLst>
              <a:ext uri="{FF2B5EF4-FFF2-40B4-BE49-F238E27FC236}">
                <a16:creationId xmlns:a16="http://schemas.microsoft.com/office/drawing/2014/main" id="{D6884067-1F55-174B-A844-FC2C0D0A83A2}"/>
              </a:ext>
            </a:extLst>
          </p:cNvPr>
          <p:cNvSpPr>
            <a:spLocks noGrp="1"/>
          </p:cNvSpPr>
          <p:nvPr>
            <p:ph type="body" sz="half" idx="2"/>
          </p:nvPr>
        </p:nvSpPr>
        <p:spPr>
          <a:xfrm>
            <a:off x="839788" y="2334260"/>
            <a:ext cx="3932237" cy="3184092"/>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7" name="Date Placeholder 3">
            <a:extLst>
              <a:ext uri="{FF2B5EF4-FFF2-40B4-BE49-F238E27FC236}">
                <a16:creationId xmlns:a16="http://schemas.microsoft.com/office/drawing/2014/main" id="{9B57C2CB-D6FD-3E4A-B6DF-0B0380C10D24}"/>
              </a:ext>
            </a:extLst>
          </p:cNvPr>
          <p:cNvSpPr>
            <a:spLocks noGrp="1"/>
          </p:cNvSpPr>
          <p:nvPr>
            <p:ph type="dt" sz="half" idx="10"/>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18" name="Slide Number Placeholder 5">
            <a:extLst>
              <a:ext uri="{FF2B5EF4-FFF2-40B4-BE49-F238E27FC236}">
                <a16:creationId xmlns:a16="http://schemas.microsoft.com/office/drawing/2014/main" id="{BD324947-C9F2-5F4F-881E-981F72B1D5DB}"/>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908665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3_Section Header">
    <p:bg>
      <p:bgPr>
        <a:solidFill>
          <a:schemeClr val="bg1">
            <a:alpha val="75000"/>
          </a:schemeClr>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4BA6973-DE62-B448-9040-E9518A8F782F}"/>
              </a:ext>
            </a:extLst>
          </p:cNvPr>
          <p:cNvSpPr/>
          <p:nvPr userDrawn="1"/>
        </p:nvSpPr>
        <p:spPr>
          <a:xfrm>
            <a:off x="0" y="0"/>
            <a:ext cx="12192000" cy="5705856"/>
          </a:xfrm>
          <a:prstGeom prst="rect">
            <a:avLst/>
          </a:prstGeom>
          <a:solidFill>
            <a:srgbClr val="F0F6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C1BE9F53-389D-1F4A-B63B-9A0F6EC480D5}"/>
              </a:ext>
            </a:extLst>
          </p:cNvPr>
          <p:cNvSpPr>
            <a:spLocks noGrp="1"/>
          </p:cNvSpPr>
          <p:nvPr>
            <p:ph type="body" idx="1"/>
          </p:nvPr>
        </p:nvSpPr>
        <p:spPr>
          <a:xfrm>
            <a:off x="3436620" y="2880361"/>
            <a:ext cx="7910830" cy="2157983"/>
          </a:xfrm>
          <a:prstGeom prst="rect">
            <a:avLst/>
          </a:prstGeom>
        </p:spPr>
        <p:txBody>
          <a:bodyPr/>
          <a:lstStyle>
            <a:lvl1pPr marL="0" indent="0">
              <a:buNone/>
              <a:defRPr sz="2400">
                <a:solidFill>
                  <a:srgbClr val="00336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a:extLst>
              <a:ext uri="{FF2B5EF4-FFF2-40B4-BE49-F238E27FC236}">
                <a16:creationId xmlns:a16="http://schemas.microsoft.com/office/drawing/2014/main" id="{6B580F54-3052-6249-9FEB-B16581AE1CE2}"/>
              </a:ext>
            </a:extLst>
          </p:cNvPr>
          <p:cNvPicPr>
            <a:picLocks noChangeAspect="1"/>
          </p:cNvPicPr>
          <p:nvPr userDrawn="1"/>
        </p:nvPicPr>
        <p:blipFill>
          <a:blip r:embed="rId2"/>
          <a:srcRect/>
          <a:stretch/>
        </p:blipFill>
        <p:spPr>
          <a:xfrm>
            <a:off x="942590" y="1863711"/>
            <a:ext cx="1819656" cy="1819656"/>
          </a:xfrm>
          <a:prstGeom prst="rect">
            <a:avLst/>
          </a:prstGeom>
          <a:noFill/>
          <a:ln>
            <a:noFill/>
          </a:ln>
          <a:effectLst/>
        </p:spPr>
      </p:pic>
      <p:sp>
        <p:nvSpPr>
          <p:cNvPr id="2" name="Title 1">
            <a:extLst>
              <a:ext uri="{FF2B5EF4-FFF2-40B4-BE49-F238E27FC236}">
                <a16:creationId xmlns:a16="http://schemas.microsoft.com/office/drawing/2014/main" id="{ECD943DB-4E09-7348-B00D-9B36266379B1}"/>
              </a:ext>
            </a:extLst>
          </p:cNvPr>
          <p:cNvSpPr>
            <a:spLocks noGrp="1"/>
          </p:cNvSpPr>
          <p:nvPr>
            <p:ph type="title"/>
          </p:nvPr>
        </p:nvSpPr>
        <p:spPr>
          <a:xfrm>
            <a:off x="3436620" y="917259"/>
            <a:ext cx="7910830" cy="1871662"/>
          </a:xfrm>
        </p:spPr>
        <p:txBody>
          <a:bodyPr anchor="t">
            <a:normAutofit/>
          </a:bodyPr>
          <a:lstStyle>
            <a:lvl1pPr>
              <a:defRPr sz="4800">
                <a:solidFill>
                  <a:srgbClr val="3D8EC1"/>
                </a:solidFill>
              </a:defRPr>
            </a:lvl1pPr>
          </a:lstStyle>
          <a:p>
            <a:r>
              <a:rPr lang="en-US"/>
              <a:t>Click to edit Master title style</a:t>
            </a:r>
          </a:p>
        </p:txBody>
      </p:sp>
      <p:sp>
        <p:nvSpPr>
          <p:cNvPr id="12" name="Date Placeholder 3">
            <a:extLst>
              <a:ext uri="{FF2B5EF4-FFF2-40B4-BE49-F238E27FC236}">
                <a16:creationId xmlns:a16="http://schemas.microsoft.com/office/drawing/2014/main" id="{532D5931-4BF9-2F4E-B957-5B8843AA5E87}"/>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13" name="Slide Number Placeholder 5">
            <a:extLst>
              <a:ext uri="{FF2B5EF4-FFF2-40B4-BE49-F238E27FC236}">
                <a16:creationId xmlns:a16="http://schemas.microsoft.com/office/drawing/2014/main" id="{98EC0B1D-32B8-D646-A504-DF3F3474456D}"/>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31037865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7D54C5B0-51DE-4740-94CE-E94C0DA0B02B}"/>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6" name="Slide Number Placeholder 5">
            <a:extLst>
              <a:ext uri="{FF2B5EF4-FFF2-40B4-BE49-F238E27FC236}">
                <a16:creationId xmlns:a16="http://schemas.microsoft.com/office/drawing/2014/main" id="{CC442FB6-4459-1E49-8F60-50650ECC0311}"/>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
        <p:nvSpPr>
          <p:cNvPr id="8" name="Title 6">
            <a:extLst>
              <a:ext uri="{FF2B5EF4-FFF2-40B4-BE49-F238E27FC236}">
                <a16:creationId xmlns:a16="http://schemas.microsoft.com/office/drawing/2014/main" id="{7D67E8CD-106D-6B45-8057-FA0D3C1BAB20}"/>
              </a:ext>
            </a:extLst>
          </p:cNvPr>
          <p:cNvSpPr>
            <a:spLocks noGrp="1"/>
          </p:cNvSpPr>
          <p:nvPr>
            <p:ph type="title"/>
          </p:nvPr>
        </p:nvSpPr>
        <p:spPr>
          <a:xfrm>
            <a:off x="838200" y="2190146"/>
            <a:ext cx="10515600" cy="1325563"/>
          </a:xfrm>
        </p:spPr>
        <p:txBody>
          <a:bodyPr/>
          <a:lstStyle>
            <a:lvl1pPr>
              <a:defRPr>
                <a:solidFill>
                  <a:srgbClr val="3D8EC1"/>
                </a:solidFill>
              </a:defRPr>
            </a:lvl1pPr>
          </a:lstStyle>
          <a:p>
            <a:r>
              <a:rPr lang="en-US"/>
              <a:t>Click to edit Master title style</a:t>
            </a:r>
          </a:p>
        </p:txBody>
      </p:sp>
    </p:spTree>
    <p:extLst>
      <p:ext uri="{BB962C8B-B14F-4D97-AF65-F5344CB8AC3E}">
        <p14:creationId xmlns:p14="http://schemas.microsoft.com/office/powerpoint/2010/main" val="14054746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ection Header">
    <p:bg>
      <p:bgPr>
        <a:solidFill>
          <a:schemeClr val="bg1">
            <a:alpha val="75000"/>
          </a:schemeClr>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6BE015B-66BD-8A4F-90CD-714F920F3BE7}"/>
              </a:ext>
            </a:extLst>
          </p:cNvPr>
          <p:cNvSpPr/>
          <p:nvPr userDrawn="1"/>
        </p:nvSpPr>
        <p:spPr>
          <a:xfrm>
            <a:off x="0" y="0"/>
            <a:ext cx="12192000" cy="5705856"/>
          </a:xfrm>
          <a:prstGeom prst="rect">
            <a:avLst/>
          </a:prstGeom>
          <a:solidFill>
            <a:srgbClr val="F0F6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3E86A95A-3EAD-8644-8EC7-190C7C8BE405}"/>
              </a:ext>
            </a:extLst>
          </p:cNvPr>
          <p:cNvSpPr>
            <a:spLocks noGrp="1"/>
          </p:cNvSpPr>
          <p:nvPr>
            <p:ph type="title"/>
          </p:nvPr>
        </p:nvSpPr>
        <p:spPr>
          <a:xfrm>
            <a:off x="838200" y="2190146"/>
            <a:ext cx="10515600" cy="1325563"/>
          </a:xfrm>
        </p:spPr>
        <p:txBody>
          <a:bodyPr/>
          <a:lstStyle>
            <a:lvl1pPr>
              <a:defRPr>
                <a:solidFill>
                  <a:srgbClr val="3D8EC1"/>
                </a:solidFill>
              </a:defRPr>
            </a:lvl1pPr>
          </a:lstStyle>
          <a:p>
            <a:r>
              <a:rPr lang="en-US"/>
              <a:t>Click to edit Master title style</a:t>
            </a:r>
          </a:p>
        </p:txBody>
      </p:sp>
      <p:sp>
        <p:nvSpPr>
          <p:cNvPr id="8" name="Date Placeholder 3">
            <a:extLst>
              <a:ext uri="{FF2B5EF4-FFF2-40B4-BE49-F238E27FC236}">
                <a16:creationId xmlns:a16="http://schemas.microsoft.com/office/drawing/2014/main" id="{DC7B4D8B-228A-5947-8A53-7B4B250423AE}"/>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9" name="Slide Number Placeholder 5">
            <a:extLst>
              <a:ext uri="{FF2B5EF4-FFF2-40B4-BE49-F238E27FC236}">
                <a16:creationId xmlns:a16="http://schemas.microsoft.com/office/drawing/2014/main" id="{A7E4CB8B-638C-C441-9C3E-5E128F33B0F3}"/>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17056601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Section Header">
    <p:bg>
      <p:bgPr>
        <a:solidFill>
          <a:schemeClr val="bg1">
            <a:alpha val="75000"/>
          </a:schemeClr>
        </a:solidFill>
        <a:effectLst/>
      </p:bgPr>
    </p:bg>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7B35BA6C-69BB-3545-ADFB-6D20806B40B6}"/>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9" name="Slide Number Placeholder 5">
            <a:extLst>
              <a:ext uri="{FF2B5EF4-FFF2-40B4-BE49-F238E27FC236}">
                <a16:creationId xmlns:a16="http://schemas.microsoft.com/office/drawing/2014/main" id="{63DC7219-C6B5-B242-87C8-919FEE11B27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
        <p:nvSpPr>
          <p:cNvPr id="10" name="Rectangle 9">
            <a:extLst>
              <a:ext uri="{FF2B5EF4-FFF2-40B4-BE49-F238E27FC236}">
                <a16:creationId xmlns:a16="http://schemas.microsoft.com/office/drawing/2014/main" id="{A9FA19B5-15C8-7B43-AD1C-B4BBB5CF0F65}"/>
              </a:ext>
            </a:extLst>
          </p:cNvPr>
          <p:cNvSpPr/>
          <p:nvPr userDrawn="1"/>
        </p:nvSpPr>
        <p:spPr>
          <a:xfrm>
            <a:off x="0" y="0"/>
            <a:ext cx="12192000" cy="5705856"/>
          </a:xfrm>
          <a:prstGeom prst="rect">
            <a:avLst/>
          </a:prstGeom>
          <a:solidFill>
            <a:srgbClr val="F0F6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29804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Section Header">
    <p:bg>
      <p:bgPr>
        <a:solidFill>
          <a:schemeClr val="bg1">
            <a:alpha val="75000"/>
          </a:schemeClr>
        </a:solidFill>
        <a:effectLst/>
      </p:bgPr>
    </p:bg>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7B35BA6C-69BB-3545-ADFB-6D20806B40B6}"/>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9" name="Slide Number Placeholder 5">
            <a:extLst>
              <a:ext uri="{FF2B5EF4-FFF2-40B4-BE49-F238E27FC236}">
                <a16:creationId xmlns:a16="http://schemas.microsoft.com/office/drawing/2014/main" id="{63DC7219-C6B5-B242-87C8-919FEE11B27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Tree>
    <p:extLst>
      <p:ext uri="{BB962C8B-B14F-4D97-AF65-F5344CB8AC3E}">
        <p14:creationId xmlns:p14="http://schemas.microsoft.com/office/powerpoint/2010/main" val="289528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Section Header">
    <p:bg>
      <p:bgPr>
        <a:solidFill>
          <a:schemeClr val="bg1">
            <a:alpha val="50000"/>
          </a:schemeClr>
        </a:solidFill>
        <a:effectLst/>
      </p:bgPr>
    </p:bg>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id="{7B35BA6C-69BB-3545-ADFB-6D20806B40B6}"/>
              </a:ext>
            </a:extLst>
          </p:cNvPr>
          <p:cNvSpPr>
            <a:spLocks noGrp="1"/>
          </p:cNvSpPr>
          <p:nvPr>
            <p:ph type="dt" sz="half" idx="2"/>
          </p:nvPr>
        </p:nvSpPr>
        <p:spPr>
          <a:xfrm>
            <a:off x="9902254" y="6129020"/>
            <a:ext cx="665812" cy="365125"/>
          </a:xfrm>
          <a:prstGeom prst="rect">
            <a:avLst/>
          </a:prstGeom>
        </p:spPr>
        <p:txBody>
          <a:bodyPr vert="horz" lIns="91440" tIns="45720" rIns="91440" bIns="45720" rtlCol="0" anchor="ctr"/>
          <a:lstStyle>
            <a:lvl1pPr algn="l">
              <a:defRPr sz="1000">
                <a:solidFill>
                  <a:schemeClr val="tx1">
                    <a:tint val="75000"/>
                  </a:schemeClr>
                </a:solidFill>
              </a:defRPr>
            </a:lvl1pPr>
          </a:lstStyle>
          <a:p>
            <a:fld id="{E40A4A31-EF19-1B46-8231-F9268AB4491B}" type="datetime1">
              <a:rPr lang="en-US" smtClean="0"/>
              <a:t>8/29/2023</a:t>
            </a:fld>
            <a:endParaRPr lang="en-US"/>
          </a:p>
        </p:txBody>
      </p:sp>
      <p:sp>
        <p:nvSpPr>
          <p:cNvPr id="9" name="Slide Number Placeholder 5">
            <a:extLst>
              <a:ext uri="{FF2B5EF4-FFF2-40B4-BE49-F238E27FC236}">
                <a16:creationId xmlns:a16="http://schemas.microsoft.com/office/drawing/2014/main" id="{63DC7219-C6B5-B242-87C8-919FEE11B27F}"/>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sp>
        <p:nvSpPr>
          <p:cNvPr id="4" name="Rectangle 3">
            <a:extLst>
              <a:ext uri="{FF2B5EF4-FFF2-40B4-BE49-F238E27FC236}">
                <a16:creationId xmlns:a16="http://schemas.microsoft.com/office/drawing/2014/main" id="{CE58911B-D4BE-4F4B-8089-2BE7914F5B4E}"/>
              </a:ext>
            </a:extLst>
          </p:cNvPr>
          <p:cNvSpPr/>
          <p:nvPr userDrawn="1"/>
        </p:nvSpPr>
        <p:spPr>
          <a:xfrm>
            <a:off x="0" y="0"/>
            <a:ext cx="12192000" cy="5705856"/>
          </a:xfrm>
          <a:prstGeom prst="rect">
            <a:avLst/>
          </a:prstGeom>
          <a:solidFill>
            <a:srgbClr val="0088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45771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p:spTree>
      <p:nvGrpSpPr>
        <p:cNvPr id="1" name=""/>
        <p:cNvGrpSpPr/>
        <p:nvPr/>
      </p:nvGrpSpPr>
      <p:grpSpPr>
        <a:xfrm>
          <a:off x="0" y="0"/>
          <a:ext cx="0" cy="0"/>
          <a:chOff x="0" y="0"/>
          <a:chExt cx="0" cy="0"/>
        </a:xfrm>
      </p:grpSpPr>
      <p:sp>
        <p:nvSpPr>
          <p:cNvPr id="10" name="Rectangle 5"/>
          <p:cNvSpPr>
            <a:spLocks noChangeArrowheads="1"/>
          </p:cNvSpPr>
          <p:nvPr/>
        </p:nvSpPr>
        <p:spPr bwMode="white">
          <a:xfrm>
            <a:off x="6540503" y="0"/>
            <a:ext cx="5651496" cy="6858000"/>
          </a:xfrm>
          <a:custGeom>
            <a:avLst/>
            <a:gdLst/>
            <a:ahLst/>
            <a:cxnLst/>
            <a:rect l="l" t="t" r="r" b="b"/>
            <a:pathLst>
              <a:path w="4238622" h="6858000">
                <a:moveTo>
                  <a:pt x="0" y="0"/>
                </a:moveTo>
                <a:lnTo>
                  <a:pt x="4086222" y="0"/>
                </a:lnTo>
                <a:lnTo>
                  <a:pt x="4237035" y="0"/>
                </a:lnTo>
                <a:lnTo>
                  <a:pt x="4238622" y="0"/>
                </a:lnTo>
                <a:lnTo>
                  <a:pt x="4238622" y="6858000"/>
                </a:lnTo>
                <a:lnTo>
                  <a:pt x="4237035" y="6858000"/>
                </a:lnTo>
                <a:lnTo>
                  <a:pt x="4086222" y="6858000"/>
                </a:lnTo>
                <a:lnTo>
                  <a:pt x="254000" y="6858000"/>
                </a:lnTo>
                <a:lnTo>
                  <a:pt x="892175" y="433705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1" name="Freeform 6"/>
          <p:cNvSpPr>
            <a:spLocks/>
          </p:cNvSpPr>
          <p:nvPr/>
        </p:nvSpPr>
        <p:spPr bwMode="auto">
          <a:xfrm>
            <a:off x="6256868"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a:innerShdw blurRad="635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12" name="Freeform 7"/>
          <p:cNvSpPr>
            <a:spLocks/>
          </p:cNvSpPr>
          <p:nvPr/>
        </p:nvSpPr>
        <p:spPr bwMode="auto">
          <a:xfrm>
            <a:off x="6062136" y="0"/>
            <a:ext cx="1528232" cy="6858000"/>
          </a:xfrm>
          <a:custGeom>
            <a:avLst/>
            <a:gdLst/>
            <a:ahLst/>
            <a:cxnLst/>
            <a:rect l="l" t="t" r="r" b="b"/>
            <a:pathLst>
              <a:path w="1146174" h="6858000">
                <a:moveTo>
                  <a:pt x="0" y="0"/>
                </a:moveTo>
                <a:lnTo>
                  <a:pt x="253999" y="0"/>
                </a:lnTo>
                <a:lnTo>
                  <a:pt x="1146174" y="4337050"/>
                </a:lnTo>
                <a:lnTo>
                  <a:pt x="511174" y="6858000"/>
                </a:lnTo>
                <a:lnTo>
                  <a:pt x="254000" y="6858000"/>
                </a:lnTo>
                <a:lnTo>
                  <a:pt x="892175" y="4337050"/>
                </a:lnTo>
                <a:close/>
              </a:path>
            </a:pathLst>
          </a:custGeom>
          <a:solidFill>
            <a:schemeClr val="accent1"/>
          </a:solidFill>
          <a:ln>
            <a:noFill/>
          </a:ln>
          <a:effectLst>
            <a:innerShdw blurRad="1778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2" name="Title 1"/>
          <p:cNvSpPr>
            <a:spLocks noGrp="1"/>
          </p:cNvSpPr>
          <p:nvPr>
            <p:ph type="ctrTitle"/>
          </p:nvPr>
        </p:nvSpPr>
        <p:spPr>
          <a:xfrm>
            <a:off x="1284394" y="2148840"/>
            <a:ext cx="5120640" cy="2560320"/>
          </a:xfrm>
        </p:spPr>
        <p:txBody>
          <a:bodyPr anchor="b">
            <a:normAutofit/>
          </a:bodyPr>
          <a:lstStyle>
            <a:lvl1pPr algn="l">
              <a:defRPr sz="4000">
                <a:solidFill>
                  <a:schemeClr val="tx1"/>
                </a:solidFill>
                <a:latin typeface="Tw Cen MT Condensed Extra Bold" panose="020B0803020202020204" pitchFamily="34" charset="0"/>
              </a:defRPr>
            </a:lvl1pPr>
          </a:lstStyle>
          <a:p>
            <a:r>
              <a:rPr lang="en-US"/>
              <a:t>Click to edit Master title style</a:t>
            </a:r>
          </a:p>
        </p:txBody>
      </p:sp>
      <p:sp>
        <p:nvSpPr>
          <p:cNvPr id="15" name="Picture Placeholder 14"/>
          <p:cNvSpPr>
            <a:spLocks noGrp="1"/>
          </p:cNvSpPr>
          <p:nvPr>
            <p:ph type="pic" sz="quarter" idx="10"/>
          </p:nvPr>
        </p:nvSpPr>
        <p:spPr>
          <a:xfrm>
            <a:off x="6743703" y="0"/>
            <a:ext cx="5448297" cy="6858000"/>
          </a:xfrm>
          <a:custGeom>
            <a:avLst/>
            <a:gdLst>
              <a:gd name="connsiteX0" fmla="*/ 0 w 5448297"/>
              <a:gd name="connsiteY0" fmla="*/ 0 h 6858000"/>
              <a:gd name="connsiteX1" fmla="*/ 5448297 w 5448297"/>
              <a:gd name="connsiteY1" fmla="*/ 0 h 6858000"/>
              <a:gd name="connsiteX2" fmla="*/ 5448297 w 5448297"/>
              <a:gd name="connsiteY2" fmla="*/ 6858000 h 6858000"/>
              <a:gd name="connsiteX3" fmla="*/ 338667 w 5448297"/>
              <a:gd name="connsiteY3" fmla="*/ 6858000 h 6858000"/>
              <a:gd name="connsiteX4" fmla="*/ 1185333 w 5448297"/>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297" h="6858000">
                <a:moveTo>
                  <a:pt x="0" y="0"/>
                </a:moveTo>
                <a:lnTo>
                  <a:pt x="5448297" y="0"/>
                </a:lnTo>
                <a:lnTo>
                  <a:pt x="5448297" y="6858000"/>
                </a:lnTo>
                <a:lnTo>
                  <a:pt x="338667" y="6858000"/>
                </a:lnTo>
                <a:lnTo>
                  <a:pt x="1185333" y="4337050"/>
                </a:lnTo>
                <a:close/>
              </a:path>
            </a:pathLst>
          </a:custGeom>
          <a:noFill/>
          <a:ln>
            <a:noFill/>
          </a:ln>
        </p:spPr>
        <p:txBody>
          <a:bodyPr wrap="square" tIns="365760">
            <a:noAutofit/>
          </a:bodyPr>
          <a:lstStyle>
            <a:lvl1pPr marL="0" indent="0" algn="ctr">
              <a:buNone/>
              <a:defRPr sz="2800">
                <a:solidFill>
                  <a:schemeClr val="bg1"/>
                </a:solidFill>
              </a:defRPr>
            </a:lvl1pPr>
          </a:lstStyle>
          <a:p>
            <a:endParaRPr lang="en-US"/>
          </a:p>
        </p:txBody>
      </p:sp>
    </p:spTree>
    <p:extLst>
      <p:ext uri="{BB962C8B-B14F-4D97-AF65-F5344CB8AC3E}">
        <p14:creationId xmlns:p14="http://schemas.microsoft.com/office/powerpoint/2010/main" val="39778576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5"/>
          <p:cNvSpPr>
            <a:spLocks noChangeArrowheads="1"/>
          </p:cNvSpPr>
          <p:nvPr/>
        </p:nvSpPr>
        <p:spPr bwMode="white">
          <a:xfrm>
            <a:off x="9622368" y="0"/>
            <a:ext cx="2569632" cy="6858000"/>
          </a:xfrm>
          <a:custGeom>
            <a:avLst/>
            <a:gdLst/>
            <a:ahLst/>
            <a:cxnLst/>
            <a:rect l="l" t="t" r="r" b="b"/>
            <a:pathLst>
              <a:path w="1927224" h="6858000">
                <a:moveTo>
                  <a:pt x="0" y="0"/>
                </a:moveTo>
                <a:lnTo>
                  <a:pt x="1927224" y="0"/>
                </a:lnTo>
                <a:lnTo>
                  <a:pt x="1927224" y="6858000"/>
                </a:lnTo>
                <a:lnTo>
                  <a:pt x="254000" y="6858000"/>
                </a:lnTo>
                <a:lnTo>
                  <a:pt x="892175" y="433705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8" name="Freeform 6"/>
          <p:cNvSpPr>
            <a:spLocks/>
          </p:cNvSpPr>
          <p:nvPr/>
        </p:nvSpPr>
        <p:spPr bwMode="auto">
          <a:xfrm>
            <a:off x="9237132" y="0"/>
            <a:ext cx="1672169" cy="6858000"/>
          </a:xfrm>
          <a:custGeom>
            <a:avLst/>
            <a:gdLst/>
            <a:ahLst/>
            <a:cxnLst/>
            <a:rect l="l" t="t" r="r" b="b"/>
            <a:pathLst>
              <a:path w="1254127" h="6858000">
                <a:moveTo>
                  <a:pt x="0" y="0"/>
                </a:moveTo>
                <a:lnTo>
                  <a:pt x="365127" y="0"/>
                </a:lnTo>
                <a:lnTo>
                  <a:pt x="1254127" y="4337050"/>
                </a:lnTo>
                <a:lnTo>
                  <a:pt x="619127" y="6858000"/>
                </a:lnTo>
                <a:lnTo>
                  <a:pt x="257175" y="6858000"/>
                </a:lnTo>
                <a:lnTo>
                  <a:pt x="892175" y="4337050"/>
                </a:lnTo>
                <a:close/>
              </a:path>
            </a:pathLst>
          </a:custGeom>
          <a:solidFill>
            <a:schemeClr val="accent2"/>
          </a:solidFill>
          <a:ln>
            <a:noFill/>
          </a:ln>
          <a:effectLst>
            <a:outerShdw blurRad="101600" dist="50800" algn="l" rotWithShape="0">
              <a:prstClr val="black">
                <a:alpha val="25000"/>
              </a:prstClr>
            </a:out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9" name="Freeform 7"/>
          <p:cNvSpPr>
            <a:spLocks/>
          </p:cNvSpPr>
          <p:nvPr/>
        </p:nvSpPr>
        <p:spPr bwMode="auto">
          <a:xfrm>
            <a:off x="9173633" y="0"/>
            <a:ext cx="1460499" cy="6858000"/>
          </a:xfrm>
          <a:custGeom>
            <a:avLst/>
            <a:gdLst/>
            <a:ahLst/>
            <a:cxnLst/>
            <a:rect l="l" t="t" r="r" b="b"/>
            <a:pathLst>
              <a:path w="1095374" h="685800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a:effectLst>
            <a:outerShdw blurRad="101600" dist="50800" algn="l" rotWithShape="0">
              <a:prstClr val="black">
                <a:alpha val="25000"/>
              </a:prstClr>
            </a:out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10" name="Freeform 7"/>
          <p:cNvSpPr>
            <a:spLocks/>
          </p:cNvSpPr>
          <p:nvPr/>
        </p:nvSpPr>
        <p:spPr bwMode="auto">
          <a:xfrm>
            <a:off x="9173633" y="0"/>
            <a:ext cx="1460499" cy="6858000"/>
          </a:xfrm>
          <a:custGeom>
            <a:avLst/>
            <a:gdLst/>
            <a:ahLst/>
            <a:cxnLst/>
            <a:rect l="l" t="t" r="r" b="b"/>
            <a:pathLst>
              <a:path w="1095374" h="6858000">
                <a:moveTo>
                  <a:pt x="0" y="0"/>
                </a:moveTo>
                <a:lnTo>
                  <a:pt x="203199" y="0"/>
                </a:lnTo>
                <a:lnTo>
                  <a:pt x="1095374" y="4337050"/>
                </a:lnTo>
                <a:lnTo>
                  <a:pt x="460374" y="6858000"/>
                </a:lnTo>
                <a:lnTo>
                  <a:pt x="257175" y="6858000"/>
                </a:lnTo>
                <a:lnTo>
                  <a:pt x="892175" y="4337050"/>
                </a:lnTo>
                <a:close/>
              </a:path>
            </a:pathLst>
          </a:custGeom>
          <a:solidFill>
            <a:schemeClr val="accent1"/>
          </a:solidFill>
          <a:ln>
            <a:noFill/>
          </a:ln>
          <a:effectLst>
            <a:innerShdw blurRad="63500" dist="50800" dir="10800000">
              <a:prstClr val="black">
                <a:alpha val="50000"/>
              </a:prstClr>
            </a:innerShdw>
          </a:effectLst>
        </p:spPr>
        <p:txBody>
          <a:bodyPr vert="horz" wrap="square" lIns="91440" tIns="45720" rIns="91440" bIns="45720" numCol="1" anchor="t" anchorCtr="0" compatLnSpc="1">
            <a:prstTxWarp prst="textNoShape">
              <a:avLst/>
            </a:prstTxWarp>
          </a:bodyPr>
          <a:lstStyle/>
          <a:p>
            <a:pPr lvl="0"/>
            <a:endParaRPr lang="en-US" sz="1800"/>
          </a:p>
        </p:txBody>
      </p:sp>
      <p:sp>
        <p:nvSpPr>
          <p:cNvPr id="2" name="Title 1"/>
          <p:cNvSpPr>
            <a:spLocks noGrp="1"/>
          </p:cNvSpPr>
          <p:nvPr>
            <p:ph type="title"/>
          </p:nvPr>
        </p:nvSpPr>
        <p:spPr>
          <a:xfrm>
            <a:off x="1295398" y="2914650"/>
            <a:ext cx="8046720" cy="1557338"/>
          </a:xfrm>
        </p:spPr>
        <p:txBody>
          <a:bodyPr anchor="b">
            <a:normAutofit/>
          </a:bodyPr>
          <a:lstStyle>
            <a:lvl1pPr>
              <a:defRPr sz="3200">
                <a:solidFill>
                  <a:schemeClr val="tx1"/>
                </a:solidFill>
                <a:latin typeface="Tw Cen MT Condensed Extra Bold" panose="020B0803020202020204" pitchFamily="34" charset="0"/>
              </a:defRPr>
            </a:lvl1pPr>
          </a:lstStyle>
          <a:p>
            <a:r>
              <a:rPr lang="en-US"/>
              <a:t>Click to edit Master title style</a:t>
            </a:r>
          </a:p>
        </p:txBody>
      </p:sp>
      <p:sp>
        <p:nvSpPr>
          <p:cNvPr id="3" name="Text Placeholder 2"/>
          <p:cNvSpPr>
            <a:spLocks noGrp="1"/>
          </p:cNvSpPr>
          <p:nvPr>
            <p:ph type="body" idx="1"/>
          </p:nvPr>
        </p:nvSpPr>
        <p:spPr>
          <a:xfrm>
            <a:off x="1295398" y="4589463"/>
            <a:ext cx="8046718" cy="1011237"/>
          </a:xfrm>
        </p:spPr>
        <p:txBody>
          <a:bodyPr/>
          <a:lstStyle>
            <a:lvl1pPr marL="0" indent="0">
              <a:spcBef>
                <a:spcPts val="1200"/>
              </a:spcBef>
              <a:buNone/>
              <a:defRPr sz="2400">
                <a:solidFill>
                  <a:schemeClr val="tx1"/>
                </a:solidFill>
                <a:latin typeface="Cambria" panose="02040503050406030204" pitchFamily="18"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820249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sp>
        <p:nvSpPr>
          <p:cNvPr id="3" name="Content Placeholder 2"/>
          <p:cNvSpPr>
            <a:spLocks noGrp="1"/>
          </p:cNvSpPr>
          <p:nvPr>
            <p:ph sz="half" idx="1"/>
          </p:nvPr>
        </p:nvSpPr>
        <p:spPr/>
        <p:txBody>
          <a:bodyPr/>
          <a:lstStyle>
            <a:lvl1pPr>
              <a:defRPr>
                <a:latin typeface="Cambria" panose="02040503050406030204" pitchFamily="18" charset="0"/>
              </a:defRPr>
            </a:lvl1pPr>
            <a:lvl2pPr>
              <a:defRPr>
                <a:latin typeface="Cambria" panose="02040503050406030204" pitchFamily="18" charset="0"/>
              </a:defRPr>
            </a:lvl2pPr>
            <a:lvl3pPr>
              <a:defRPr>
                <a:latin typeface="Cambria" panose="02040503050406030204" pitchFamily="18" charset="0"/>
              </a:defRPr>
            </a:lvl3pPr>
            <a:lvl4pPr>
              <a:defRPr>
                <a:latin typeface="Cambria" panose="02040503050406030204" pitchFamily="18" charset="0"/>
              </a:defRPr>
            </a:lvl4pPr>
            <a:lvl5pPr>
              <a:defRPr>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24600" y="1828799"/>
            <a:ext cx="4572000" cy="4343401"/>
          </a:xfrm>
        </p:spPr>
        <p:txBody>
          <a:bodyPr/>
          <a:lstStyle>
            <a:lvl1pPr>
              <a:defRPr>
                <a:latin typeface="Cambria" panose="02040503050406030204" pitchFamily="18" charset="0"/>
              </a:defRPr>
            </a:lvl1pPr>
            <a:lvl2pPr>
              <a:defRPr>
                <a:latin typeface="Cambria" panose="02040503050406030204" pitchFamily="18" charset="0"/>
              </a:defRPr>
            </a:lvl2pPr>
            <a:lvl3pPr>
              <a:defRPr>
                <a:latin typeface="Cambria" panose="02040503050406030204" pitchFamily="18" charset="0"/>
              </a:defRPr>
            </a:lvl3pPr>
            <a:lvl4pPr>
              <a:defRPr>
                <a:latin typeface="Cambria" panose="02040503050406030204" pitchFamily="18" charset="0"/>
              </a:defRPr>
            </a:lvl4pPr>
            <a:lvl5pPr>
              <a:defRPr>
                <a:latin typeface="Cambria" panose="02040503050406030204"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34949390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95400" y="255134"/>
            <a:ext cx="9601200" cy="1036850"/>
          </a:xfrm>
        </p:spPr>
        <p:txBody>
          <a:bodyPr/>
          <a:lstStyle/>
          <a:p>
            <a:r>
              <a:rPr lang="en-US"/>
              <a:t>Click to edit Master title style</a:t>
            </a:r>
          </a:p>
        </p:txBody>
      </p:sp>
      <p:sp>
        <p:nvSpPr>
          <p:cNvPr id="3" name="Text Placeholder 2"/>
          <p:cNvSpPr>
            <a:spLocks noGrp="1"/>
          </p:cNvSpPr>
          <p:nvPr>
            <p:ph type="body" idx="1"/>
          </p:nvPr>
        </p:nvSpPr>
        <p:spPr>
          <a:xfrm>
            <a:off x="1295400" y="1828800"/>
            <a:ext cx="4572000" cy="850392"/>
          </a:xfrm>
        </p:spPr>
        <p:txBody>
          <a:bodyPr anchor="ctr">
            <a:normAutofit/>
          </a:bodyPr>
          <a:lstStyle>
            <a:lvl1pPr marL="0" indent="0">
              <a:buNone/>
              <a:defRPr sz="2600" b="0">
                <a:latin typeface="Tw Cen MT Condensed Extra Bold" panose="020B0803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295400" y="2705100"/>
            <a:ext cx="4572000" cy="3467100"/>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24600" y="1828800"/>
            <a:ext cx="4572000" cy="847725"/>
          </a:xfrm>
        </p:spPr>
        <p:txBody>
          <a:bodyPr anchor="ctr">
            <a:normAutofit/>
          </a:bodyPr>
          <a:lstStyle>
            <a:lvl1pPr marL="0" indent="0">
              <a:buNone/>
              <a:defRPr sz="2600" b="0">
                <a:latin typeface="Tw Cen MT Condensed Extra Bold" panose="020B0803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24600" y="2705100"/>
            <a:ext cx="4572000" cy="34671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27619690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800"/>
            </a:lvl1pPr>
          </a:lstStyle>
          <a:p>
            <a:r>
              <a:rPr lang="en-US"/>
              <a:t>Click to edit Master title sty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293555959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46341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4728209" y="1828800"/>
            <a:ext cx="6126480" cy="4343400"/>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295400" y="1828800"/>
            <a:ext cx="3017520" cy="4343400"/>
          </a:xfrm>
        </p:spPr>
        <p:txBody>
          <a:bodyPr anchor="ctr">
            <a:normAutofit/>
          </a:bodyPr>
          <a:lstStyle>
            <a:lvl1pPr marL="0" indent="0">
              <a:spcBef>
                <a:spcPts val="1200"/>
              </a:spcBef>
              <a:buNone/>
              <a:defRPr sz="20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791449" y="6374999"/>
            <a:ext cx="1480705" cy="274320"/>
          </a:xfrm>
          <a:prstGeom prst="rect">
            <a:avLst/>
          </a:prstGeom>
        </p:spPr>
        <p:txBody>
          <a:bodyPr/>
          <a:lstStyle/>
          <a:p>
            <a:endParaRPr lang="en-US"/>
          </a:p>
        </p:txBody>
      </p:sp>
      <p:sp>
        <p:nvSpPr>
          <p:cNvPr id="6" name="Footer Placeholder 5"/>
          <p:cNvSpPr>
            <a:spLocks noGrp="1"/>
          </p:cNvSpPr>
          <p:nvPr>
            <p:ph type="ftr" sz="quarter" idx="11"/>
          </p:nvPr>
        </p:nvSpPr>
        <p:spPr>
          <a:xfrm>
            <a:off x="1295399" y="6374999"/>
            <a:ext cx="6243203" cy="274320"/>
          </a:xfrm>
          <a:prstGeom prst="rect">
            <a:avLst/>
          </a:prstGeom>
        </p:spPr>
        <p:txBody>
          <a:bodyPr/>
          <a:lstStyle/>
          <a:p>
            <a:endParaRPr lang="en-US"/>
          </a:p>
        </p:txBody>
      </p:sp>
      <p:sp>
        <p:nvSpPr>
          <p:cNvPr id="7" name="Slide Number Placeholder 6"/>
          <p:cNvSpPr>
            <a:spLocks noGrp="1"/>
          </p:cNvSpPr>
          <p:nvPr>
            <p:ph type="sldNum" sz="quarter" idx="12"/>
          </p:nvPr>
        </p:nvSpPr>
        <p:spPr>
          <a:xfrm>
            <a:off x="9525000" y="6374999"/>
            <a:ext cx="1371600" cy="274320"/>
          </a:xfrm>
          <a:prstGeom prst="rect">
            <a:avLst/>
          </a:prstGeom>
        </p:spPr>
        <p:txBody>
          <a:bodyPr/>
          <a:lstStyle/>
          <a:p>
            <a:fld id="{A7F8E3F6-DE14-48B2-B2BC-6FABA9630FB8}" type="slidenum">
              <a:rPr lang="en-US" smtClean="0"/>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20497021">
            <a:off x="196396" y="237662"/>
            <a:ext cx="904995" cy="1054322"/>
          </a:xfrm>
          <a:prstGeom prst="rect">
            <a:avLst/>
          </a:prstGeom>
        </p:spPr>
      </p:pic>
    </p:spTree>
    <p:extLst>
      <p:ext uri="{BB962C8B-B14F-4D97-AF65-F5344CB8AC3E}">
        <p14:creationId xmlns:p14="http://schemas.microsoft.com/office/powerpoint/2010/main" val="30154546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2.xml"/><Relationship Id="rId3" Type="http://schemas.openxmlformats.org/officeDocument/2006/relationships/slideLayout" Target="../slideLayouts/slideLayout17.xml"/><Relationship Id="rId21" Type="http://schemas.openxmlformats.org/officeDocument/2006/relationships/image" Target="../media/image3.png"/><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xml"/><Relationship Id="rId2" Type="http://schemas.openxmlformats.org/officeDocument/2006/relationships/slideLayout" Target="../slideLayouts/slideLayout16.xml"/><Relationship Id="rId16" Type="http://schemas.openxmlformats.org/officeDocument/2006/relationships/vmlDrawing" Target="../drawings/vmlDrawing1.vml"/><Relationship Id="rId20" Type="http://schemas.openxmlformats.org/officeDocument/2006/relationships/image" Target="../media/image2.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23" Type="http://schemas.openxmlformats.org/officeDocument/2006/relationships/image" Target="../media/image5.png"/><Relationship Id="rId10" Type="http://schemas.openxmlformats.org/officeDocument/2006/relationships/slideLayout" Target="../slideLayouts/slideLayout24.xml"/><Relationship Id="rId19" Type="http://schemas.openxmlformats.org/officeDocument/2006/relationships/oleObject" Target="../embeddings/oleObject1.bin"/><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7" name="Rectangle 6"/>
          <p:cNvSpPr/>
          <p:nvPr userDrawn="1"/>
        </p:nvSpPr>
        <p:spPr bwMode="white">
          <a:xfrm>
            <a:off x="0" y="0"/>
            <a:ext cx="12192000" cy="13716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0" y="1371600"/>
            <a:ext cx="12192000" cy="82183"/>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0" y="1443006"/>
            <a:ext cx="12192000" cy="82183"/>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95400" y="255134"/>
            <a:ext cx="9601200" cy="1036850"/>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295400" y="1828800"/>
            <a:ext cx="9601200" cy="4343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55126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90000"/>
        </a:lnSpc>
        <a:spcBef>
          <a:spcPct val="0"/>
        </a:spcBef>
        <a:buNone/>
        <a:defRPr sz="3200" kern="1200">
          <a:solidFill>
            <a:schemeClr val="bg1"/>
          </a:solidFill>
          <a:latin typeface="+mj-lt"/>
          <a:ea typeface="+mj-ea"/>
          <a:cs typeface="+mj-cs"/>
        </a:defRPr>
      </a:lvl1pPr>
    </p:titleStyle>
    <p:bodyStyle>
      <a:lvl1pPr marL="274320" indent="-274320" algn="l" defTabSz="914400" rtl="0" eaLnBrk="1" latinLnBrk="0" hangingPunct="1">
        <a:lnSpc>
          <a:spcPct val="90000"/>
        </a:lnSpc>
        <a:spcBef>
          <a:spcPts val="1800"/>
        </a:spcBef>
        <a:buFont typeface="Arial" panose="020B0604020202020204" pitchFamily="34" charset="0"/>
        <a:buChar char="•"/>
        <a:defRPr sz="2400" kern="1200">
          <a:solidFill>
            <a:schemeClr val="tx1"/>
          </a:solidFill>
          <a:latin typeface="Cambria" panose="02040503050406030204" pitchFamily="18" charset="0"/>
          <a:ea typeface="+mn-ea"/>
          <a:cs typeface="+mn-cs"/>
        </a:defRPr>
      </a:lvl1pPr>
      <a:lvl2pPr marL="54864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mn-ea"/>
          <a:cs typeface="+mn-cs"/>
        </a:defRPr>
      </a:lvl2pPr>
      <a:lvl3pPr marL="822960" indent="-228600" algn="l" defTabSz="914400" rtl="0" eaLnBrk="1" latinLnBrk="0" hangingPunct="1">
        <a:lnSpc>
          <a:spcPct val="90000"/>
        </a:lnSpc>
        <a:spcBef>
          <a:spcPts val="800"/>
        </a:spcBef>
        <a:buFont typeface="Arial" panose="020B0604020202020204" pitchFamily="34" charset="0"/>
        <a:buChar char="•"/>
        <a:defRPr sz="2400" kern="1200">
          <a:solidFill>
            <a:schemeClr val="tx1"/>
          </a:solidFill>
          <a:latin typeface="Cambria" panose="02040503050406030204" pitchFamily="18" charset="0"/>
          <a:ea typeface="+mn-ea"/>
          <a:cs typeface="+mn-cs"/>
        </a:defRPr>
      </a:lvl3pPr>
      <a:lvl4pPr marL="1097280" indent="-228600" algn="l" defTabSz="914400" rtl="0" eaLnBrk="1" latinLnBrk="0" hangingPunct="1">
        <a:lnSpc>
          <a:spcPct val="90000"/>
        </a:lnSpc>
        <a:spcBef>
          <a:spcPts val="800"/>
        </a:spcBef>
        <a:buFont typeface="Arial" panose="020B0604020202020204" pitchFamily="34" charset="0"/>
        <a:buChar char="•"/>
        <a:defRPr sz="2000" kern="1200">
          <a:solidFill>
            <a:schemeClr val="tx1"/>
          </a:solidFill>
          <a:latin typeface="Cambria" panose="02040503050406030204" pitchFamily="18" charset="0"/>
          <a:ea typeface="+mn-ea"/>
          <a:cs typeface="+mn-cs"/>
        </a:defRPr>
      </a:lvl4pPr>
      <a:lvl5pPr marL="1325880" indent="-228600" algn="l" defTabSz="914400" rtl="0" eaLnBrk="1" latinLnBrk="0" hangingPunct="1">
        <a:lnSpc>
          <a:spcPct val="90000"/>
        </a:lnSpc>
        <a:spcBef>
          <a:spcPts val="800"/>
        </a:spcBef>
        <a:buFont typeface="Arial" panose="020B0604020202020204" pitchFamily="34" charset="0"/>
        <a:buChar char="•"/>
        <a:defRPr sz="2000" kern="1200">
          <a:solidFill>
            <a:schemeClr val="tx1"/>
          </a:solidFill>
          <a:latin typeface="Cambria" panose="02040503050406030204" pitchFamily="18" charset="0"/>
          <a:ea typeface="+mn-ea"/>
          <a:cs typeface="+mn-cs"/>
        </a:defRPr>
      </a:lvl5pPr>
      <a:lvl6pPr marL="15544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6pPr>
      <a:lvl7pPr marL="17830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7pPr>
      <a:lvl8pPr marL="20116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8pPr>
      <a:lvl9pPr marL="2240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7"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6331A15-E80A-4F38-8965-021F157E8D1B}"/>
              </a:ext>
            </a:extLst>
          </p:cNvPr>
          <p:cNvGraphicFramePr>
            <a:graphicFrameLocks noChangeAspect="1"/>
          </p:cNvGraphicFramePr>
          <p:nvPr userDrawn="1">
            <p:custDataLst>
              <p:tags r:id="rId17"/>
            </p:custDataLst>
            <p:extLst>
              <p:ext uri="{D42A27DB-BD31-4B8C-83A1-F6EECF244321}">
                <p14:modId xmlns:p14="http://schemas.microsoft.com/office/powerpoint/2010/main" val="61529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19" imgW="622" imgH="623" progId="TCLayout.ActiveDocument.1">
                  <p:embed/>
                </p:oleObj>
              </mc:Choice>
              <mc:Fallback>
                <p:oleObj name="think-cell Slide" r:id="rId19" imgW="622" imgH="623" progId="TCLayout.ActiveDocument.1">
                  <p:embed/>
                  <p:pic>
                    <p:nvPicPr>
                      <p:cNvPr id="8" name="Object 7" hidden="1">
                        <a:extLst>
                          <a:ext uri="{FF2B5EF4-FFF2-40B4-BE49-F238E27FC236}">
                            <a16:creationId xmlns:a16="http://schemas.microsoft.com/office/drawing/2014/main" id="{36331A15-E80A-4F38-8965-021F157E8D1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5EC338E-7E4A-4FA7-8F07-A12236AED928}"/>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panose="020F0502020204030204" pitchFamily="34" charset="0"/>
              <a:ea typeface="+mj-ea"/>
              <a:cs typeface="+mj-cs"/>
              <a:sym typeface="Calibri" panose="020F0502020204030204" pitchFamily="34" charset="0"/>
            </a:endParaRPr>
          </a:p>
        </p:txBody>
      </p:sp>
      <p:sp>
        <p:nvSpPr>
          <p:cNvPr id="2" name="Title Placeholder 1">
            <a:extLst>
              <a:ext uri="{FF2B5EF4-FFF2-40B4-BE49-F238E27FC236}">
                <a16:creationId xmlns:a16="http://schemas.microsoft.com/office/drawing/2014/main" id="{522DE6D7-393D-3C4F-9493-EABDDBB19FC5}"/>
              </a:ext>
            </a:extLst>
          </p:cNvPr>
          <p:cNvSpPr>
            <a:spLocks noGrp="1"/>
          </p:cNvSpPr>
          <p:nvPr>
            <p:ph type="title"/>
          </p:nvPr>
        </p:nvSpPr>
        <p:spPr>
          <a:xfrm>
            <a:off x="838200" y="312398"/>
            <a:ext cx="10515600" cy="97506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1510AA-5908-DE4D-80BE-52D994BDB847}"/>
              </a:ext>
            </a:extLst>
          </p:cNvPr>
          <p:cNvSpPr>
            <a:spLocks noGrp="1"/>
          </p:cNvSpPr>
          <p:nvPr>
            <p:ph type="body" idx="1"/>
          </p:nvPr>
        </p:nvSpPr>
        <p:spPr>
          <a:xfrm>
            <a:off x="838200" y="1447801"/>
            <a:ext cx="10515600" cy="31841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08CF6B0-7A4A-4C45-8548-E0201EB746B4}"/>
              </a:ext>
            </a:extLst>
          </p:cNvPr>
          <p:cNvSpPr>
            <a:spLocks noGrp="1"/>
          </p:cNvSpPr>
          <p:nvPr>
            <p:ph type="sldNum" sz="quarter" idx="4"/>
          </p:nvPr>
        </p:nvSpPr>
        <p:spPr>
          <a:xfrm>
            <a:off x="10687987" y="6129020"/>
            <a:ext cx="665812"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A3D83530-7EA9-9C4F-9C25-37FA21889AFF}" type="slidenum">
              <a:rPr lang="en-US" smtClean="0"/>
              <a:pPr/>
              <a:t>‹#›</a:t>
            </a:fld>
            <a:endParaRPr lang="en-US"/>
          </a:p>
        </p:txBody>
      </p:sp>
      <p:pic>
        <p:nvPicPr>
          <p:cNvPr id="9" name="Picture 8" descr="A close up of a sign&#10;&#10;Description automatically generated">
            <a:extLst>
              <a:ext uri="{FF2B5EF4-FFF2-40B4-BE49-F238E27FC236}">
                <a16:creationId xmlns:a16="http://schemas.microsoft.com/office/drawing/2014/main" id="{E27A324C-1E21-864A-AA62-67DAD0B38DA5}"/>
              </a:ext>
            </a:extLst>
          </p:cNvPr>
          <p:cNvPicPr>
            <a:picLocks noChangeAspect="1"/>
          </p:cNvPicPr>
          <p:nvPr userDrawn="1"/>
        </p:nvPicPr>
        <p:blipFill>
          <a:blip r:embed="rId21"/>
          <a:stretch>
            <a:fillRect/>
          </a:stretch>
        </p:blipFill>
        <p:spPr>
          <a:xfrm>
            <a:off x="2532716" y="6082982"/>
            <a:ext cx="1585665" cy="457200"/>
          </a:xfrm>
          <a:prstGeom prst="rect">
            <a:avLst/>
          </a:prstGeom>
        </p:spPr>
      </p:pic>
      <p:pic>
        <p:nvPicPr>
          <p:cNvPr id="10" name="Picture 9">
            <a:extLst>
              <a:ext uri="{FF2B5EF4-FFF2-40B4-BE49-F238E27FC236}">
                <a16:creationId xmlns:a16="http://schemas.microsoft.com/office/drawing/2014/main" id="{10C51B56-88A7-B24E-B613-123FF219E481}"/>
              </a:ext>
            </a:extLst>
          </p:cNvPr>
          <p:cNvPicPr>
            <a:picLocks noChangeAspect="1"/>
          </p:cNvPicPr>
          <p:nvPr userDrawn="1"/>
        </p:nvPicPr>
        <p:blipFill>
          <a:blip r:embed="rId22"/>
          <a:srcRect/>
          <a:stretch/>
        </p:blipFill>
        <p:spPr>
          <a:xfrm>
            <a:off x="1682337" y="5968682"/>
            <a:ext cx="685800" cy="685800"/>
          </a:xfrm>
          <a:prstGeom prst="rect">
            <a:avLst/>
          </a:prstGeom>
        </p:spPr>
      </p:pic>
      <p:pic>
        <p:nvPicPr>
          <p:cNvPr id="11" name="Picture 10" descr="A close up of a sign&#10;&#10;Description automatically generated">
            <a:extLst>
              <a:ext uri="{FF2B5EF4-FFF2-40B4-BE49-F238E27FC236}">
                <a16:creationId xmlns:a16="http://schemas.microsoft.com/office/drawing/2014/main" id="{0F1564B7-47FB-4748-9DA8-E125FB6D46BB}"/>
              </a:ext>
            </a:extLst>
          </p:cNvPr>
          <p:cNvPicPr>
            <a:picLocks noChangeAspect="1"/>
          </p:cNvPicPr>
          <p:nvPr userDrawn="1"/>
        </p:nvPicPr>
        <p:blipFill>
          <a:blip r:embed="rId23"/>
          <a:stretch>
            <a:fillRect/>
          </a:stretch>
        </p:blipFill>
        <p:spPr>
          <a:xfrm>
            <a:off x="831958" y="5968682"/>
            <a:ext cx="685800" cy="685800"/>
          </a:xfrm>
          <a:prstGeom prst="rect">
            <a:avLst/>
          </a:prstGeom>
        </p:spPr>
      </p:pic>
    </p:spTree>
    <p:extLst>
      <p:ext uri="{BB962C8B-B14F-4D97-AF65-F5344CB8AC3E}">
        <p14:creationId xmlns:p14="http://schemas.microsoft.com/office/powerpoint/2010/main" val="197850508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hf hdr="0"/>
  <p:txStyles>
    <p:titleStyle>
      <a:lvl1pPr algn="l" defTabSz="914400" rtl="0" eaLnBrk="1" latinLnBrk="0" hangingPunct="1">
        <a:lnSpc>
          <a:spcPct val="90000"/>
        </a:lnSpc>
        <a:spcBef>
          <a:spcPct val="0"/>
        </a:spcBef>
        <a:buNone/>
        <a:defRPr sz="4400"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D8EC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D8EC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D8EC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D8EC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diagramColors" Target="../diagrams/colors10.xml"/><Relationship Id="rId5" Type="http://schemas.openxmlformats.org/officeDocument/2006/relationships/diagramQuickStyle" Target="../diagrams/quickStyle10.xml"/><Relationship Id="rId10" Type="http://schemas.openxmlformats.org/officeDocument/2006/relationships/hyperlink" Target="mailto:collegebound@wsac.wa.gov" TargetMode="External"/><Relationship Id="rId4" Type="http://schemas.openxmlformats.org/officeDocument/2006/relationships/diagramLayout" Target="../diagrams/layout10.xml"/><Relationship Id="rId9" Type="http://schemas.openxmlformats.org/officeDocument/2006/relationships/image" Target="../media/image21.jpeg"/></Relationships>
</file>

<file path=ppt/slides/_rels/slide1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2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diagramData" Target="../diagrams/data15.xml"/><Relationship Id="rId7" Type="http://schemas.microsoft.com/office/2007/relationships/diagramDrawing" Target="../diagrams/drawing15.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15.xml"/><Relationship Id="rId5" Type="http://schemas.openxmlformats.org/officeDocument/2006/relationships/diagramQuickStyle" Target="../diagrams/quickStyle15.xml"/><Relationship Id="rId4" Type="http://schemas.openxmlformats.org/officeDocument/2006/relationships/diagramLayout" Target="../diagrams/layout15.xml"/><Relationship Id="rId9" Type="http://schemas.openxmlformats.org/officeDocument/2006/relationships/image" Target="../media/image28.pn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hyperlink" Target="https://gcc02.safelinks.protection.outlook.com/?url=https%3A%2F%2Fwsac.wa.gov%2FWASFA&amp;data=04%7C01%7CChristinaW%40wsac.wa.gov%7C3a1ad8794c364a63ee7d08d93d935756%7C11d0e217264e400a8ba057dcc127d72d%7C0%7C0%7C637608525305575262%7CUnknown%7CTWFpbGZsb3d8eyJWIjoiMC4wLjAwMDAiLCJQIjoiV2luMzIiLCJBTiI6Ik1haWwiLCJXVCI6Mn0%3D%7C1000&amp;sdata=rvFQPh7nH8yPF%2BxYAPEgFwJ2rfDluYMdRYNzr74jnRM%3D&amp;reserved=0" TargetMode="External"/></Relationships>
</file>

<file path=ppt/slides/_rels/slide24.xml.rels><?xml version="1.0" encoding="UTF-8" standalone="yes"?>
<Relationships xmlns="http://schemas.openxmlformats.org/package/2006/relationships"><Relationship Id="rId8" Type="http://schemas.microsoft.com/office/2007/relationships/diagramDrawing" Target="../diagrams/drawing16.xml"/><Relationship Id="rId3" Type="http://schemas.openxmlformats.org/officeDocument/2006/relationships/image" Target="../media/image30.png"/><Relationship Id="rId7" Type="http://schemas.openxmlformats.org/officeDocument/2006/relationships/diagramColors" Target="../diagrams/colors16.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QuickStyle" Target="../diagrams/quickStyle16.xml"/><Relationship Id="rId5" Type="http://schemas.openxmlformats.org/officeDocument/2006/relationships/diagramLayout" Target="../diagrams/layout16.xml"/><Relationship Id="rId4" Type="http://schemas.openxmlformats.org/officeDocument/2006/relationships/diagramData" Target="../diagrams/data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2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9.xml"/><Relationship Id="rId1" Type="http://schemas.openxmlformats.org/officeDocument/2006/relationships/slideLayout" Target="../slideLayouts/slideLayout9.xml"/><Relationship Id="rId6" Type="http://schemas.openxmlformats.org/officeDocument/2006/relationships/diagramColors" Target="../diagrams/colors19.xml"/><Relationship Id="rId5" Type="http://schemas.openxmlformats.org/officeDocument/2006/relationships/diagramQuickStyle" Target="../diagrams/quickStyle19.xml"/><Relationship Id="rId10" Type="http://schemas.openxmlformats.org/officeDocument/2006/relationships/image" Target="../media/image34.png"/><Relationship Id="rId4" Type="http://schemas.openxmlformats.org/officeDocument/2006/relationships/diagramLayout" Target="../diagrams/layout19.xml"/><Relationship Id="rId9"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31.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image" Target="../media/image35.png"/><Relationship Id="rId7" Type="http://schemas.openxmlformats.org/officeDocument/2006/relationships/diagramColors" Target="../diagrams/colors21.xml"/><Relationship Id="rId2" Type="http://schemas.openxmlformats.org/officeDocument/2006/relationships/notesSlide" Target="../notesSlides/notesSlide31.xml"/><Relationship Id="rId1" Type="http://schemas.openxmlformats.org/officeDocument/2006/relationships/slideLayout" Target="../slideLayouts/slideLayout5.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s>
</file>

<file path=ppt/slides/_rels/slide3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22.xml"/><Relationship Id="rId7" Type="http://schemas.microsoft.com/office/2007/relationships/diagramDrawing" Target="../diagrams/drawing22.xm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diagramColors" Target="../diagrams/colors22.xml"/><Relationship Id="rId5" Type="http://schemas.openxmlformats.org/officeDocument/2006/relationships/diagramQuickStyle" Target="../diagrams/quickStyle22.xml"/><Relationship Id="rId4" Type="http://schemas.openxmlformats.org/officeDocument/2006/relationships/diagramLayout" Target="../diagrams/layout22.xml"/></Relationships>
</file>

<file path=ppt/slides/_rels/slide3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36.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0.png"/><Relationship Id="rId7" Type="http://schemas.openxmlformats.org/officeDocument/2006/relationships/diagramQuickStyle" Target="../diagrams/quickStyle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Layout" Target="../diagrams/layout2.xml"/><Relationship Id="rId5" Type="http://schemas.openxmlformats.org/officeDocument/2006/relationships/diagramData" Target="../diagrams/data2.xml"/><Relationship Id="rId4" Type="http://schemas.microsoft.com/office/2007/relationships/hdphoto" Target="../media/hdphoto1.wdp"/><Relationship Id="rId9" Type="http://schemas.microsoft.com/office/2007/relationships/diagramDrawing" Target="../diagrams/drawing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13.jpeg"/></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662" y="2199289"/>
            <a:ext cx="5809885" cy="2459421"/>
          </a:xfrm>
        </p:spPr>
        <p:txBody>
          <a:bodyPr>
            <a:noAutofit/>
          </a:bodyPr>
          <a:lstStyle/>
          <a:p>
            <a:r>
              <a:rPr lang="es-MX" sz="6600"/>
              <a:t>Introducción</a:t>
            </a:r>
            <a:r>
              <a:rPr lang="en-US" sz="6600"/>
              <a:t> Para </a:t>
            </a:r>
            <a:r>
              <a:rPr lang="en-US" sz="6600" err="1"/>
              <a:t>Ayuda</a:t>
            </a:r>
            <a:r>
              <a:rPr lang="en-US" sz="6600"/>
              <a:t> </a:t>
            </a:r>
            <a:r>
              <a:rPr lang="en-US" sz="6600" err="1"/>
              <a:t>Financiera</a:t>
            </a:r>
            <a:br>
              <a:rPr lang="en-US" sz="5400"/>
            </a:br>
            <a:endParaRPr lang="en-US">
              <a:latin typeface="Tw Cen MT Condensed Extra Bold" panose="020B0803020202020204" pitchFamily="34" charset="0"/>
            </a:endParaRPr>
          </a:p>
        </p:txBody>
      </p:sp>
      <p:pic>
        <p:nvPicPr>
          <p:cNvPr id="12" name="Picture Placeholder 11"/>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l="9171" t="211" r="38285" b="-211"/>
          <a:stretch/>
        </p:blipFill>
        <p:spPr/>
      </p:pic>
      <p:pic>
        <p:nvPicPr>
          <p:cNvPr id="5" name="Picture Placeholder 5">
            <a:extLst>
              <a:ext uri="{FF2B5EF4-FFF2-40B4-BE49-F238E27FC236}">
                <a16:creationId xmlns:a16="http://schemas.microsoft.com/office/drawing/2014/main" id="{D6B60AE9-30A5-41B3-B4BB-811A1746246E}"/>
              </a:ext>
            </a:extLst>
          </p:cNvPr>
          <p:cNvPicPr>
            <a:picLocks noChangeAspect="1"/>
          </p:cNvPicPr>
          <p:nvPr/>
        </p:nvPicPr>
        <p:blipFill>
          <a:blip r:embed="rId4">
            <a:extLst>
              <a:ext uri="{28A0092B-C50C-407E-A947-70E740481C1C}">
                <a14:useLocalDpi xmlns:a14="http://schemas.microsoft.com/office/drawing/2010/main" val="0"/>
              </a:ext>
            </a:extLst>
          </a:blip>
          <a:srcRect l="24398" r="24398"/>
          <a:stretch>
            <a:fillRect/>
          </a:stretch>
        </p:blipFill>
        <p:spPr>
          <a:xfrm>
            <a:off x="6743700" y="0"/>
            <a:ext cx="5448300" cy="6858000"/>
          </a:xfrm>
          <a:custGeom>
            <a:avLst/>
            <a:gdLst>
              <a:gd name="connsiteX0" fmla="*/ 0 w 5448297"/>
              <a:gd name="connsiteY0" fmla="*/ 0 h 6858000"/>
              <a:gd name="connsiteX1" fmla="*/ 5448297 w 5448297"/>
              <a:gd name="connsiteY1" fmla="*/ 0 h 6858000"/>
              <a:gd name="connsiteX2" fmla="*/ 5448297 w 5448297"/>
              <a:gd name="connsiteY2" fmla="*/ 6858000 h 6858000"/>
              <a:gd name="connsiteX3" fmla="*/ 338667 w 5448297"/>
              <a:gd name="connsiteY3" fmla="*/ 6858000 h 6858000"/>
              <a:gd name="connsiteX4" fmla="*/ 1185333 w 5448297"/>
              <a:gd name="connsiteY4" fmla="*/ 433705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8297" h="6858000">
                <a:moveTo>
                  <a:pt x="0" y="0"/>
                </a:moveTo>
                <a:lnTo>
                  <a:pt x="5448297" y="0"/>
                </a:lnTo>
                <a:lnTo>
                  <a:pt x="5448297" y="6858000"/>
                </a:lnTo>
                <a:lnTo>
                  <a:pt x="338667" y="6858000"/>
                </a:lnTo>
                <a:lnTo>
                  <a:pt x="1185333" y="4337050"/>
                </a:lnTo>
                <a:close/>
              </a:path>
            </a:pathLst>
          </a:custGeom>
          <a:noFill/>
          <a:ln>
            <a:noFill/>
          </a:ln>
        </p:spPr>
      </p:pic>
      <p:pic>
        <p:nvPicPr>
          <p:cNvPr id="4" name="Picture 3">
            <a:extLst>
              <a:ext uri="{FF2B5EF4-FFF2-40B4-BE49-F238E27FC236}">
                <a16:creationId xmlns:a16="http://schemas.microsoft.com/office/drawing/2014/main" id="{C719D1B5-0427-4BF9-B024-7B6DF9B21BCF}"/>
              </a:ext>
            </a:extLst>
          </p:cNvPr>
          <p:cNvPicPr>
            <a:picLocks noChangeAspect="1"/>
          </p:cNvPicPr>
          <p:nvPr/>
        </p:nvPicPr>
        <p:blipFill>
          <a:blip r:embed="rId5"/>
          <a:stretch>
            <a:fillRect/>
          </a:stretch>
        </p:blipFill>
        <p:spPr>
          <a:xfrm>
            <a:off x="347662" y="5357968"/>
            <a:ext cx="5247595" cy="1214961"/>
          </a:xfrm>
          <a:prstGeom prst="rect">
            <a:avLst/>
          </a:prstGeom>
        </p:spPr>
      </p:pic>
    </p:spTree>
    <p:extLst>
      <p:ext uri="{BB962C8B-B14F-4D97-AF65-F5344CB8AC3E}">
        <p14:creationId xmlns:p14="http://schemas.microsoft.com/office/powerpoint/2010/main" val="40069851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1ED826-50DD-4F59-8A60-1B74757E432C}"/>
              </a:ext>
            </a:extLst>
          </p:cNvPr>
          <p:cNvSpPr>
            <a:spLocks noGrp="1"/>
          </p:cNvSpPr>
          <p:nvPr>
            <p:ph type="title"/>
          </p:nvPr>
        </p:nvSpPr>
        <p:spPr/>
        <p:txBody>
          <a:bodyPr>
            <a:normAutofit/>
          </a:bodyPr>
          <a:lstStyle/>
          <a:p>
            <a:r>
              <a:rPr lang="en-US" sz="4400"/>
              <a:t>Programa de </a:t>
            </a:r>
            <a:r>
              <a:rPr lang="en-US" sz="4400" err="1"/>
              <a:t>Trabajo</a:t>
            </a:r>
            <a:r>
              <a:rPr lang="en-US" sz="4400"/>
              <a:t> y </a:t>
            </a:r>
            <a:r>
              <a:rPr lang="en-US" sz="4400" err="1"/>
              <a:t>Estudio</a:t>
            </a:r>
            <a:r>
              <a:rPr lang="en-US" sz="4400"/>
              <a:t>/ Work Study</a:t>
            </a:r>
            <a:endParaRPr lang="en-US" sz="3200"/>
          </a:p>
        </p:txBody>
      </p:sp>
      <p:sp>
        <p:nvSpPr>
          <p:cNvPr id="3" name="Content Placeholder 2">
            <a:extLst>
              <a:ext uri="{FF2B5EF4-FFF2-40B4-BE49-F238E27FC236}">
                <a16:creationId xmlns:a16="http://schemas.microsoft.com/office/drawing/2014/main" id="{28F18CD3-7810-49AF-9EE3-CED26CAD2EB5}"/>
              </a:ext>
            </a:extLst>
          </p:cNvPr>
          <p:cNvSpPr>
            <a:spLocks noGrp="1"/>
          </p:cNvSpPr>
          <p:nvPr>
            <p:ph idx="1"/>
          </p:nvPr>
        </p:nvSpPr>
        <p:spPr>
          <a:xfrm>
            <a:off x="885824" y="2133600"/>
            <a:ext cx="5372101" cy="4038600"/>
          </a:xfrm>
        </p:spPr>
        <p:txBody>
          <a:bodyPr>
            <a:noAutofit/>
          </a:bodyPr>
          <a:lstStyle/>
          <a:p>
            <a:pPr marL="0" indent="0" algn="ctr">
              <a:buNone/>
            </a:pPr>
            <a:r>
              <a:rPr lang="en-US" sz="3200">
                <a:latin typeface="+mj-lt"/>
              </a:rPr>
              <a:t>El </a:t>
            </a:r>
            <a:r>
              <a:rPr lang="en-US" sz="3200" err="1">
                <a:latin typeface="+mj-lt"/>
              </a:rPr>
              <a:t>programa</a:t>
            </a:r>
            <a:r>
              <a:rPr lang="en-US" sz="3200">
                <a:latin typeface="+mj-lt"/>
              </a:rPr>
              <a:t> de </a:t>
            </a:r>
            <a:r>
              <a:rPr lang="en-US" sz="3200" err="1">
                <a:latin typeface="+mj-lt"/>
              </a:rPr>
              <a:t>trabajo</a:t>
            </a:r>
            <a:r>
              <a:rPr lang="en-US" sz="3200">
                <a:latin typeface="+mj-lt"/>
              </a:rPr>
              <a:t> y </a:t>
            </a:r>
            <a:r>
              <a:rPr lang="en-US" sz="3200" err="1">
                <a:latin typeface="+mj-lt"/>
              </a:rPr>
              <a:t>estudio</a:t>
            </a:r>
            <a:r>
              <a:rPr lang="en-US" sz="3200">
                <a:latin typeface="+mj-lt"/>
              </a:rPr>
              <a:t> </a:t>
            </a:r>
            <a:r>
              <a:rPr lang="en-US" sz="3200" err="1">
                <a:latin typeface="+mj-lt"/>
              </a:rPr>
              <a:t>brinda</a:t>
            </a:r>
            <a:r>
              <a:rPr lang="en-US" sz="3200">
                <a:latin typeface="+mj-lt"/>
              </a:rPr>
              <a:t> </a:t>
            </a:r>
            <a:r>
              <a:rPr lang="en-US" sz="3200" err="1">
                <a:latin typeface="+mj-lt"/>
              </a:rPr>
              <a:t>trabajos</a:t>
            </a:r>
            <a:r>
              <a:rPr lang="en-US" sz="3200">
                <a:latin typeface="+mj-lt"/>
              </a:rPr>
              <a:t> de medio </a:t>
            </a:r>
            <a:r>
              <a:rPr lang="en-US" sz="3200" err="1">
                <a:latin typeface="+mj-lt"/>
              </a:rPr>
              <a:t>tiempo</a:t>
            </a:r>
            <a:r>
              <a:rPr lang="en-US" sz="3200">
                <a:latin typeface="+mj-lt"/>
              </a:rPr>
              <a:t> para </a:t>
            </a:r>
            <a:r>
              <a:rPr lang="en-US" sz="3200" err="1">
                <a:latin typeface="+mj-lt"/>
              </a:rPr>
              <a:t>estudiantes</a:t>
            </a:r>
            <a:r>
              <a:rPr lang="en-US" sz="3200">
                <a:latin typeface="+mj-lt"/>
              </a:rPr>
              <a:t> con </a:t>
            </a:r>
            <a:r>
              <a:rPr lang="en-US" sz="3200" err="1">
                <a:latin typeface="+mj-lt"/>
              </a:rPr>
              <a:t>necesidades</a:t>
            </a:r>
            <a:r>
              <a:rPr lang="en-US" sz="3200">
                <a:latin typeface="+mj-lt"/>
              </a:rPr>
              <a:t> </a:t>
            </a:r>
            <a:r>
              <a:rPr lang="en-US" sz="3200" err="1">
                <a:latin typeface="+mj-lt"/>
              </a:rPr>
              <a:t>financieras</a:t>
            </a:r>
            <a:r>
              <a:rPr lang="en-US" sz="3200">
                <a:latin typeface="+mj-lt"/>
              </a:rPr>
              <a:t>, lo que les </a:t>
            </a:r>
            <a:r>
              <a:rPr lang="en-US" sz="3200" err="1">
                <a:latin typeface="+mj-lt"/>
              </a:rPr>
              <a:t>permite</a:t>
            </a:r>
            <a:r>
              <a:rPr lang="en-US" sz="3200">
                <a:latin typeface="+mj-lt"/>
              </a:rPr>
              <a:t> </a:t>
            </a:r>
            <a:r>
              <a:rPr lang="en-US" sz="3200" err="1">
                <a:latin typeface="+mj-lt"/>
              </a:rPr>
              <a:t>ganar</a:t>
            </a:r>
            <a:r>
              <a:rPr lang="en-US" sz="3200">
                <a:latin typeface="+mj-lt"/>
              </a:rPr>
              <a:t> dinero para </a:t>
            </a:r>
            <a:r>
              <a:rPr lang="en-US" sz="3200" err="1">
                <a:latin typeface="+mj-lt"/>
              </a:rPr>
              <a:t>ayudar</a:t>
            </a:r>
            <a:r>
              <a:rPr lang="en-US" sz="3200">
                <a:latin typeface="+mj-lt"/>
              </a:rPr>
              <a:t> a </a:t>
            </a:r>
            <a:r>
              <a:rPr lang="en-US" sz="3200" err="1">
                <a:latin typeface="+mj-lt"/>
              </a:rPr>
              <a:t>pagar</a:t>
            </a:r>
            <a:r>
              <a:rPr lang="en-US" sz="3200">
                <a:latin typeface="+mj-lt"/>
              </a:rPr>
              <a:t> sus </a:t>
            </a:r>
            <a:r>
              <a:rPr lang="en-US" sz="3200" err="1">
                <a:latin typeface="+mj-lt"/>
              </a:rPr>
              <a:t>gastos</a:t>
            </a:r>
            <a:r>
              <a:rPr lang="en-US" sz="3200">
                <a:latin typeface="+mj-lt"/>
              </a:rPr>
              <a:t> educacionales. </a:t>
            </a:r>
            <a:r>
              <a:rPr lang="en-US" sz="3200" err="1">
                <a:latin typeface="+mj-lt"/>
              </a:rPr>
              <a:t>Estos</a:t>
            </a:r>
            <a:r>
              <a:rPr lang="en-US" sz="3200">
                <a:latin typeface="+mj-lt"/>
              </a:rPr>
              <a:t> </a:t>
            </a:r>
            <a:r>
              <a:rPr lang="en-US" sz="3200" err="1">
                <a:latin typeface="+mj-lt"/>
              </a:rPr>
              <a:t>trabajos</a:t>
            </a:r>
            <a:r>
              <a:rPr lang="en-US" sz="3200">
                <a:latin typeface="+mj-lt"/>
              </a:rPr>
              <a:t> son </a:t>
            </a:r>
            <a:r>
              <a:rPr lang="en-US" sz="3200" err="1">
                <a:latin typeface="+mj-lt"/>
              </a:rPr>
              <a:t>tipicamente</a:t>
            </a:r>
            <a:r>
              <a:rPr lang="en-US" sz="3200">
                <a:latin typeface="+mj-lt"/>
              </a:rPr>
              <a:t> en el campus.</a:t>
            </a:r>
          </a:p>
        </p:txBody>
      </p:sp>
      <p:graphicFrame>
        <p:nvGraphicFramePr>
          <p:cNvPr id="4" name="Diagram 3">
            <a:extLst>
              <a:ext uri="{FF2B5EF4-FFF2-40B4-BE49-F238E27FC236}">
                <a16:creationId xmlns:a16="http://schemas.microsoft.com/office/drawing/2014/main" id="{A562051C-8317-459C-B24C-673140A61054}"/>
              </a:ext>
            </a:extLst>
          </p:cNvPr>
          <p:cNvGraphicFramePr/>
          <p:nvPr/>
        </p:nvGraphicFramePr>
        <p:xfrm>
          <a:off x="7219950" y="1469496"/>
          <a:ext cx="4086226" cy="47027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4448920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C444608-331F-4E68-AECC-67ACBE1F03EB}"/>
              </a:ext>
            </a:extLst>
          </p:cNvPr>
          <p:cNvSpPr>
            <a:spLocks noGrp="1"/>
          </p:cNvSpPr>
          <p:nvPr>
            <p:ph type="title"/>
          </p:nvPr>
        </p:nvSpPr>
        <p:spPr/>
        <p:txBody>
          <a:bodyPr/>
          <a:lstStyle/>
          <a:p>
            <a:r>
              <a:rPr lang="en-US" sz="4400">
                <a:solidFill>
                  <a:prstClr val="white"/>
                </a:solidFill>
                <a:latin typeface="Tw Cen MT Condensed Extra Bold" panose="020B0803020202020204" pitchFamily="34" charset="0"/>
              </a:rPr>
              <a:t>Préstamos</a:t>
            </a:r>
          </a:p>
        </p:txBody>
      </p:sp>
      <p:graphicFrame>
        <p:nvGraphicFramePr>
          <p:cNvPr id="7" name="Content Placeholder 6">
            <a:extLst>
              <a:ext uri="{FF2B5EF4-FFF2-40B4-BE49-F238E27FC236}">
                <a16:creationId xmlns:a16="http://schemas.microsoft.com/office/drawing/2014/main" id="{7005BD7A-F570-45F1-940E-43DA82E6E0FA}"/>
              </a:ext>
            </a:extLst>
          </p:cNvPr>
          <p:cNvGraphicFramePr>
            <a:graphicFrameLocks noGrp="1"/>
          </p:cNvGraphicFramePr>
          <p:nvPr>
            <p:ph sz="half" idx="2"/>
            <p:extLst>
              <p:ext uri="{D42A27DB-BD31-4B8C-83A1-F6EECF244321}">
                <p14:modId xmlns:p14="http://schemas.microsoft.com/office/powerpoint/2010/main" val="787052957"/>
              </p:ext>
            </p:extLst>
          </p:nvPr>
        </p:nvGraphicFramePr>
        <p:xfrm>
          <a:off x="6324600" y="1828800"/>
          <a:ext cx="4572000" cy="434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Content Placeholder 4">
            <a:extLst>
              <a:ext uri="{FF2B5EF4-FFF2-40B4-BE49-F238E27FC236}">
                <a16:creationId xmlns:a16="http://schemas.microsoft.com/office/drawing/2014/main" id="{119AECDB-E29B-4147-A1F9-EC60A9304B98}"/>
              </a:ext>
            </a:extLst>
          </p:cNvPr>
          <p:cNvSpPr>
            <a:spLocks noGrp="1"/>
          </p:cNvSpPr>
          <p:nvPr>
            <p:ph sz="half" idx="1"/>
          </p:nvPr>
        </p:nvSpPr>
        <p:spPr>
          <a:xfrm>
            <a:off x="635619" y="1873405"/>
            <a:ext cx="4461882" cy="4237464"/>
          </a:xfrm>
        </p:spPr>
        <p:txBody>
          <a:bodyPr>
            <a:normAutofit fontScale="85000" lnSpcReduction="20000"/>
          </a:bodyPr>
          <a:lstStyle/>
          <a:p>
            <a:pPr marL="0" indent="0" algn="ctr">
              <a:buNone/>
            </a:pPr>
            <a:endParaRPr lang="en-US" sz="3500">
              <a:latin typeface="+mj-lt"/>
            </a:endParaRPr>
          </a:p>
          <a:p>
            <a:pPr marL="0" indent="0" algn="ctr">
              <a:buNone/>
            </a:pPr>
            <a:r>
              <a:rPr lang="en-US" sz="3800">
                <a:latin typeface="+mj-lt"/>
              </a:rPr>
              <a:t>Un </a:t>
            </a:r>
            <a:r>
              <a:rPr lang="en-US" sz="3800" err="1">
                <a:latin typeface="+mj-lt"/>
              </a:rPr>
              <a:t>préstamo</a:t>
            </a:r>
            <a:r>
              <a:rPr lang="en-US" sz="3800">
                <a:latin typeface="+mj-lt"/>
              </a:rPr>
              <a:t> </a:t>
            </a:r>
            <a:r>
              <a:rPr lang="en-US" sz="3800" err="1">
                <a:latin typeface="+mj-lt"/>
              </a:rPr>
              <a:t>estudiantil</a:t>
            </a:r>
            <a:r>
              <a:rPr lang="en-US" sz="3800">
                <a:latin typeface="+mj-lt"/>
              </a:rPr>
              <a:t> es dinero </a:t>
            </a:r>
            <a:r>
              <a:rPr lang="en-US" sz="3800" err="1">
                <a:latin typeface="+mj-lt"/>
              </a:rPr>
              <a:t>prestado</a:t>
            </a:r>
            <a:r>
              <a:rPr lang="en-US" sz="3800">
                <a:latin typeface="+mj-lt"/>
              </a:rPr>
              <a:t> para </a:t>
            </a:r>
            <a:r>
              <a:rPr lang="en-US" sz="3800" err="1">
                <a:latin typeface="+mj-lt"/>
              </a:rPr>
              <a:t>su</a:t>
            </a:r>
            <a:r>
              <a:rPr lang="en-US" sz="3800">
                <a:latin typeface="+mj-lt"/>
              </a:rPr>
              <a:t> educación y </a:t>
            </a:r>
            <a:r>
              <a:rPr lang="en-US" sz="3800" err="1">
                <a:latin typeface="+mj-lt"/>
              </a:rPr>
              <a:t>tiene</a:t>
            </a:r>
            <a:r>
              <a:rPr lang="en-US" sz="3800">
                <a:latin typeface="+mj-lt"/>
              </a:rPr>
              <a:t> </a:t>
            </a:r>
            <a:r>
              <a:rPr lang="en-US" sz="3800" err="1">
                <a:latin typeface="+mj-lt"/>
              </a:rPr>
              <a:t>facilidades</a:t>
            </a:r>
            <a:r>
              <a:rPr lang="en-US" sz="3800">
                <a:latin typeface="+mj-lt"/>
              </a:rPr>
              <a:t> de </a:t>
            </a:r>
            <a:r>
              <a:rPr lang="en-US" sz="3800" err="1">
                <a:latin typeface="+mj-lt"/>
              </a:rPr>
              <a:t>pagos</a:t>
            </a:r>
            <a:r>
              <a:rPr lang="en-US" sz="3800">
                <a:latin typeface="+mj-lt"/>
              </a:rPr>
              <a:t>. A </a:t>
            </a:r>
            <a:r>
              <a:rPr lang="en-US" sz="3800" err="1">
                <a:latin typeface="+mj-lt"/>
              </a:rPr>
              <a:t>diferencia</a:t>
            </a:r>
            <a:r>
              <a:rPr lang="en-US" sz="3800">
                <a:latin typeface="+mj-lt"/>
              </a:rPr>
              <a:t> de las </a:t>
            </a:r>
            <a:r>
              <a:rPr lang="en-US" sz="3800" err="1">
                <a:latin typeface="+mj-lt"/>
              </a:rPr>
              <a:t>becas</a:t>
            </a:r>
            <a:r>
              <a:rPr lang="en-US" sz="3800">
                <a:latin typeface="+mj-lt"/>
              </a:rPr>
              <a:t> y  </a:t>
            </a:r>
            <a:r>
              <a:rPr lang="en-US" sz="3800" err="1">
                <a:latin typeface="+mj-lt"/>
              </a:rPr>
              <a:t>trabajo</a:t>
            </a:r>
            <a:r>
              <a:rPr lang="en-US" sz="3800">
                <a:latin typeface="+mj-lt"/>
              </a:rPr>
              <a:t> y </a:t>
            </a:r>
            <a:r>
              <a:rPr lang="en-US" sz="3800" err="1">
                <a:latin typeface="+mj-lt"/>
              </a:rPr>
              <a:t>estudio</a:t>
            </a:r>
            <a:r>
              <a:rPr lang="en-US" sz="3800">
                <a:latin typeface="+mj-lt"/>
              </a:rPr>
              <a:t> que no </a:t>
            </a:r>
            <a:r>
              <a:rPr lang="en-US" sz="3800" err="1">
                <a:latin typeface="+mj-lt"/>
              </a:rPr>
              <a:t>tienen</a:t>
            </a:r>
            <a:r>
              <a:rPr lang="en-US" sz="3800">
                <a:latin typeface="+mj-lt"/>
              </a:rPr>
              <a:t> que ser </a:t>
            </a:r>
            <a:r>
              <a:rPr lang="en-US" sz="3800" err="1">
                <a:latin typeface="+mj-lt"/>
              </a:rPr>
              <a:t>reembolsados</a:t>
            </a:r>
            <a:r>
              <a:rPr lang="en-US" sz="3800">
                <a:latin typeface="+mj-lt"/>
              </a:rPr>
              <a:t>. No </a:t>
            </a:r>
            <a:r>
              <a:rPr lang="en-US" sz="3800" err="1">
                <a:latin typeface="+mj-lt"/>
              </a:rPr>
              <a:t>tienes</a:t>
            </a:r>
            <a:r>
              <a:rPr lang="en-US" sz="3800">
                <a:latin typeface="+mj-lt"/>
              </a:rPr>
              <a:t> que </a:t>
            </a:r>
            <a:r>
              <a:rPr lang="en-US" sz="3800" err="1">
                <a:latin typeface="+mj-lt"/>
              </a:rPr>
              <a:t>aceptar</a:t>
            </a:r>
            <a:r>
              <a:rPr lang="en-US" sz="3800">
                <a:latin typeface="+mj-lt"/>
              </a:rPr>
              <a:t> </a:t>
            </a:r>
            <a:r>
              <a:rPr lang="en-US" sz="3800" err="1">
                <a:latin typeface="+mj-lt"/>
              </a:rPr>
              <a:t>todos</a:t>
            </a:r>
            <a:r>
              <a:rPr lang="en-US" sz="3800">
                <a:latin typeface="+mj-lt"/>
              </a:rPr>
              <a:t> </a:t>
            </a:r>
            <a:r>
              <a:rPr lang="en-US" sz="3800" err="1">
                <a:latin typeface="+mj-lt"/>
              </a:rPr>
              <a:t>los</a:t>
            </a:r>
            <a:r>
              <a:rPr lang="en-US" sz="3800">
                <a:latin typeface="+mj-lt"/>
              </a:rPr>
              <a:t> prestamos que </a:t>
            </a:r>
            <a:r>
              <a:rPr lang="en-US" sz="3800" err="1">
                <a:latin typeface="+mj-lt"/>
              </a:rPr>
              <a:t>te</a:t>
            </a:r>
            <a:r>
              <a:rPr lang="en-US" sz="3800">
                <a:latin typeface="+mj-lt"/>
              </a:rPr>
              <a:t> </a:t>
            </a:r>
            <a:r>
              <a:rPr lang="en-US" sz="3800" err="1">
                <a:latin typeface="+mj-lt"/>
              </a:rPr>
              <a:t>ofrecen</a:t>
            </a:r>
            <a:r>
              <a:rPr lang="en-US" sz="3800">
                <a:latin typeface="+mj-lt"/>
              </a:rPr>
              <a:t>.</a:t>
            </a:r>
          </a:p>
          <a:p>
            <a:endParaRPr lang="en-US"/>
          </a:p>
        </p:txBody>
      </p:sp>
    </p:spTree>
    <p:extLst>
      <p:ext uri="{BB962C8B-B14F-4D97-AF65-F5344CB8AC3E}">
        <p14:creationId xmlns:p14="http://schemas.microsoft.com/office/powerpoint/2010/main" val="19346249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a:t>Fuentes de </a:t>
            </a:r>
            <a:r>
              <a:rPr lang="en-US" sz="4400" err="1"/>
              <a:t>Ayuda</a:t>
            </a:r>
            <a:r>
              <a:rPr lang="en-US" sz="4400"/>
              <a:t> </a:t>
            </a:r>
            <a:r>
              <a:rPr lang="en-US" sz="4400" err="1"/>
              <a:t>Financiera</a:t>
            </a:r>
            <a:endParaRPr lang="en-US" sz="4400"/>
          </a:p>
        </p:txBody>
      </p:sp>
      <p:graphicFrame>
        <p:nvGraphicFramePr>
          <p:cNvPr id="4" name="Diagram 3"/>
          <p:cNvGraphicFramePr/>
          <p:nvPr>
            <p:extLst>
              <p:ext uri="{D42A27DB-BD31-4B8C-83A1-F6EECF244321}">
                <p14:modId xmlns:p14="http://schemas.microsoft.com/office/powerpoint/2010/main" val="4247162787"/>
              </p:ext>
            </p:extLst>
          </p:nvPr>
        </p:nvGraphicFramePr>
        <p:xfrm>
          <a:off x="694056" y="2829698"/>
          <a:ext cx="10803887" cy="3626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729880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87824" y="288342"/>
            <a:ext cx="10591800" cy="1036850"/>
          </a:xfrm>
        </p:spPr>
        <p:txBody>
          <a:bodyPr>
            <a:normAutofit fontScale="90000"/>
          </a:bodyPr>
          <a:lstStyle/>
          <a:p>
            <a:pPr algn="ctr"/>
            <a:r>
              <a:rPr lang="en-US" sz="4400" err="1"/>
              <a:t>Ejemplos</a:t>
            </a:r>
            <a:r>
              <a:rPr lang="en-US" sz="4400"/>
              <a:t> de Programs de </a:t>
            </a:r>
            <a:r>
              <a:rPr lang="en-US" sz="4400" err="1"/>
              <a:t>Ayuda</a:t>
            </a:r>
            <a:r>
              <a:rPr lang="en-US" sz="4400"/>
              <a:t> </a:t>
            </a:r>
            <a:r>
              <a:rPr lang="en-US" sz="4400" err="1"/>
              <a:t>Financiera</a:t>
            </a:r>
            <a:r>
              <a:rPr lang="en-US" sz="4400"/>
              <a:t> Federales</a:t>
            </a:r>
          </a:p>
        </p:txBody>
      </p:sp>
      <p:graphicFrame>
        <p:nvGraphicFramePr>
          <p:cNvPr id="7" name="Content Placeholder 2"/>
          <p:cNvGraphicFramePr>
            <a:graphicFrameLocks noGrp="1"/>
          </p:cNvGraphicFramePr>
          <p:nvPr>
            <p:ph sz="half" idx="1"/>
            <p:extLst>
              <p:ext uri="{D42A27DB-BD31-4B8C-83A1-F6EECF244321}">
                <p14:modId xmlns:p14="http://schemas.microsoft.com/office/powerpoint/2010/main" val="721919304"/>
              </p:ext>
            </p:extLst>
          </p:nvPr>
        </p:nvGraphicFramePr>
        <p:xfrm>
          <a:off x="790832" y="2402722"/>
          <a:ext cx="5038039" cy="35779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2" descr="Counselor's Corner / FAFSA">
            <a:extLst>
              <a:ext uri="{FF2B5EF4-FFF2-40B4-BE49-F238E27FC236}">
                <a16:creationId xmlns:a16="http://schemas.microsoft.com/office/drawing/2014/main" id="{6C61AB74-047D-AFCE-75A3-FD369B2E656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75916" y="3045401"/>
            <a:ext cx="4607983" cy="1895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297771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sz="4400" err="1"/>
              <a:t>Ejemplos</a:t>
            </a:r>
            <a:r>
              <a:rPr lang="en-US" sz="4400"/>
              <a:t> de </a:t>
            </a:r>
            <a:r>
              <a:rPr lang="en-US" sz="4400" err="1"/>
              <a:t>Ayuda</a:t>
            </a:r>
            <a:r>
              <a:rPr lang="en-US" sz="4400"/>
              <a:t> </a:t>
            </a:r>
            <a:r>
              <a:rPr lang="en-US" sz="4400" err="1"/>
              <a:t>Financiera</a:t>
            </a:r>
            <a:r>
              <a:rPr lang="en-US" sz="4400"/>
              <a:t> </a:t>
            </a:r>
            <a:r>
              <a:rPr lang="en-US" sz="4400" err="1"/>
              <a:t>Estatal</a:t>
            </a:r>
            <a:endParaRPr lang="en-US" sz="4400"/>
          </a:p>
        </p:txBody>
      </p:sp>
      <p:graphicFrame>
        <p:nvGraphicFramePr>
          <p:cNvPr id="4" name="Content Placeholder 2"/>
          <p:cNvGraphicFramePr>
            <a:graphicFrameLocks noGrp="1"/>
          </p:cNvGraphicFramePr>
          <p:nvPr>
            <p:ph sz="half" idx="2"/>
            <p:extLst>
              <p:ext uri="{D42A27DB-BD31-4B8C-83A1-F6EECF244321}">
                <p14:modId xmlns:p14="http://schemas.microsoft.com/office/powerpoint/2010/main" val="1171180411"/>
              </p:ext>
            </p:extLst>
          </p:nvPr>
        </p:nvGraphicFramePr>
        <p:xfrm>
          <a:off x="1095683" y="1728439"/>
          <a:ext cx="5162551" cy="48619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5" name="Content Placeholder 7"/>
          <p:cNvPicPr>
            <a:picLocks noGrp="1" noChangeAspect="1"/>
          </p:cNvPicPr>
          <p:nvPr>
            <p:ph sz="half" idx="1"/>
          </p:nvPr>
        </p:nvPicPr>
        <p:blipFill>
          <a:blip r:embed="rId8" cstate="print">
            <a:extLst>
              <a:ext uri="{28A0092B-C50C-407E-A947-70E740481C1C}">
                <a14:useLocalDpi xmlns:a14="http://schemas.microsoft.com/office/drawing/2010/main" val="0"/>
              </a:ext>
            </a:extLst>
          </a:blip>
          <a:stretch>
            <a:fillRect/>
          </a:stretch>
        </p:blipFill>
        <p:spPr>
          <a:xfrm>
            <a:off x="7121025" y="992600"/>
            <a:ext cx="4573114" cy="3608770"/>
          </a:xfrm>
        </p:spPr>
      </p:pic>
      <p:pic>
        <p:nvPicPr>
          <p:cNvPr id="2" name="Picture 1">
            <a:extLst>
              <a:ext uri="{FF2B5EF4-FFF2-40B4-BE49-F238E27FC236}">
                <a16:creationId xmlns:a16="http://schemas.microsoft.com/office/drawing/2014/main" id="{CAB58ABB-5E43-4C45-A4C4-55C8988C66D1}"/>
              </a:ext>
            </a:extLst>
          </p:cNvPr>
          <p:cNvPicPr>
            <a:picLocks noChangeAspect="1"/>
          </p:cNvPicPr>
          <p:nvPr/>
        </p:nvPicPr>
        <p:blipFill>
          <a:blip r:embed="rId9"/>
          <a:stretch>
            <a:fillRect/>
          </a:stretch>
        </p:blipFill>
        <p:spPr>
          <a:xfrm>
            <a:off x="6938912" y="3903281"/>
            <a:ext cx="4962525" cy="2247900"/>
          </a:xfrm>
          <a:prstGeom prst="rect">
            <a:avLst/>
          </a:prstGeom>
        </p:spPr>
      </p:pic>
    </p:spTree>
    <p:extLst>
      <p:ext uri="{BB962C8B-B14F-4D97-AF65-F5344CB8AC3E}">
        <p14:creationId xmlns:p14="http://schemas.microsoft.com/office/powerpoint/2010/main" val="19511618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2319" y="255134"/>
            <a:ext cx="11129682" cy="1036850"/>
          </a:xfrm>
        </p:spPr>
        <p:txBody>
          <a:bodyPr>
            <a:noAutofit/>
          </a:bodyPr>
          <a:lstStyle/>
          <a:p>
            <a:r>
              <a:rPr lang="en-US" sz="4400"/>
              <a:t>Beca College Bound </a:t>
            </a:r>
            <a:r>
              <a:rPr lang="en-US" sz="4400" err="1"/>
              <a:t>Elegibilidad</a:t>
            </a:r>
            <a:r>
              <a:rPr lang="en-US" sz="4400"/>
              <a:t> e </a:t>
            </a:r>
            <a:r>
              <a:rPr lang="es-ES" sz="4400"/>
              <a:t>Inscripción Automática: Un Proceso de Dos Pasos</a:t>
            </a:r>
            <a:endParaRPr lang="en-US" sz="440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24584397"/>
              </p:ext>
            </p:extLst>
          </p:nvPr>
        </p:nvGraphicFramePr>
        <p:xfrm>
          <a:off x="863459" y="1797541"/>
          <a:ext cx="10100376" cy="46480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8502828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extLst>
              <p:ext uri="{D42A27DB-BD31-4B8C-83A1-F6EECF244321}">
                <p14:modId xmlns:p14="http://schemas.microsoft.com/office/powerpoint/2010/main" val="3351099426"/>
              </p:ext>
            </p:extLst>
          </p:nvPr>
        </p:nvGraphicFramePr>
        <p:xfrm>
          <a:off x="541632" y="1674766"/>
          <a:ext cx="7502617" cy="49035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normAutofit/>
          </a:bodyPr>
          <a:lstStyle/>
          <a:p>
            <a:r>
              <a:rPr lang="en-US" sz="4400">
                <a:latin typeface="Tw Cen MT Condensed Extra Bold" panose="020B0803020202020204" pitchFamily="34" charset="0"/>
              </a:rPr>
              <a:t>La </a:t>
            </a:r>
            <a:r>
              <a:rPr lang="en-US" sz="4400" err="1">
                <a:latin typeface="Tw Cen MT Condensed Extra Bold" panose="020B0803020202020204" pitchFamily="34" charset="0"/>
              </a:rPr>
              <a:t>Promesa</a:t>
            </a:r>
            <a:r>
              <a:rPr lang="en-US" sz="4400">
                <a:latin typeface="Tw Cen MT Condensed Extra Bold" panose="020B0803020202020204" pitchFamily="34" charset="0"/>
              </a:rPr>
              <a:t> de la Beca College Bound</a:t>
            </a:r>
          </a:p>
        </p:txBody>
      </p:sp>
      <p:grpSp>
        <p:nvGrpSpPr>
          <p:cNvPr id="11" name="Group 10"/>
          <p:cNvGrpSpPr/>
          <p:nvPr/>
        </p:nvGrpSpPr>
        <p:grpSpPr>
          <a:xfrm>
            <a:off x="751601" y="4776717"/>
            <a:ext cx="1542197" cy="1295892"/>
            <a:chOff x="668740" y="5159499"/>
            <a:chExt cx="1542197" cy="1295892"/>
          </a:xfrm>
        </p:grpSpPr>
        <p:sp>
          <p:nvSpPr>
            <p:cNvPr id="9" name="Rounded Rectangle 8"/>
            <p:cNvSpPr/>
            <p:nvPr/>
          </p:nvSpPr>
          <p:spPr>
            <a:xfrm>
              <a:off x="668740" y="5159499"/>
              <a:ext cx="1542197" cy="129589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0" name="Picture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9465" y="5228793"/>
              <a:ext cx="1101262" cy="1157303"/>
            </a:xfrm>
            <a:prstGeom prst="rect">
              <a:avLst/>
            </a:prstGeom>
          </p:spPr>
        </p:pic>
      </p:grpSp>
      <p:grpSp>
        <p:nvGrpSpPr>
          <p:cNvPr id="12" name="Group 11"/>
          <p:cNvGrpSpPr/>
          <p:nvPr/>
        </p:nvGrpSpPr>
        <p:grpSpPr>
          <a:xfrm>
            <a:off x="751601" y="2232128"/>
            <a:ext cx="1542197" cy="1295892"/>
            <a:chOff x="668740" y="5159499"/>
            <a:chExt cx="1542197" cy="1295892"/>
          </a:xfrm>
        </p:grpSpPr>
        <p:sp>
          <p:nvSpPr>
            <p:cNvPr id="13" name="Rounded Rectangle 12"/>
            <p:cNvSpPr/>
            <p:nvPr/>
          </p:nvSpPr>
          <p:spPr>
            <a:xfrm>
              <a:off x="668740" y="5159499"/>
              <a:ext cx="1542197" cy="1295892"/>
            </a:xfrm>
            <a:prstGeom prst="roundRect">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89465" y="5228793"/>
              <a:ext cx="1101262" cy="1157303"/>
            </a:xfrm>
            <a:prstGeom prst="rect">
              <a:avLst/>
            </a:prstGeom>
          </p:spPr>
        </p:pic>
      </p:grpSp>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611855" y="2581227"/>
            <a:ext cx="2828544" cy="1545336"/>
          </a:xfrm>
          <a:prstGeom prst="rect">
            <a:avLst/>
          </a:prstGeom>
        </p:spPr>
      </p:pic>
      <p:sp>
        <p:nvSpPr>
          <p:cNvPr id="4" name="Content Placeholder 2">
            <a:extLst>
              <a:ext uri="{FF2B5EF4-FFF2-40B4-BE49-F238E27FC236}">
                <a16:creationId xmlns:a16="http://schemas.microsoft.com/office/drawing/2014/main" id="{FB97D09A-E760-DA26-1E11-81385107E0C6}"/>
              </a:ext>
            </a:extLst>
          </p:cNvPr>
          <p:cNvSpPr txBox="1">
            <a:spLocks/>
          </p:cNvSpPr>
          <p:nvPr/>
        </p:nvSpPr>
        <p:spPr>
          <a:xfrm>
            <a:off x="8480612" y="4488700"/>
            <a:ext cx="3442447" cy="576033"/>
          </a:xfrm>
          <a:prstGeom prst="rect">
            <a:avLst/>
          </a:prstGeom>
        </p:spPr>
        <p:txBody>
          <a:bodyPr vert="horz" lIns="91440" tIns="45720" rIns="91440" bIns="45720" rtlCol="0">
            <a:normAutofit fontScale="77500" lnSpcReduction="20000"/>
          </a:bodyPr>
          <a:lstStyle>
            <a:lvl1pPr marL="274320" indent="-274320" algn="l" defTabSz="914400" rtl="0" eaLnBrk="1" latinLnBrk="0" hangingPunct="1">
              <a:lnSpc>
                <a:spcPct val="90000"/>
              </a:lnSpc>
              <a:spcBef>
                <a:spcPts val="1800"/>
              </a:spcBef>
              <a:buFont typeface="Arial" panose="020B0604020202020204" pitchFamily="34" charset="0"/>
              <a:buChar char="•"/>
              <a:defRPr sz="2400" kern="1200">
                <a:solidFill>
                  <a:schemeClr val="tx1"/>
                </a:solidFill>
                <a:latin typeface="Cambria" panose="02040503050406030204" pitchFamily="18" charset="0"/>
                <a:ea typeface="+mn-ea"/>
                <a:cs typeface="+mn-cs"/>
              </a:defRPr>
            </a:lvl1pPr>
            <a:lvl2pPr marL="54864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mbria" panose="02040503050406030204" pitchFamily="18" charset="0"/>
                <a:ea typeface="+mn-ea"/>
                <a:cs typeface="+mn-cs"/>
              </a:defRPr>
            </a:lvl2pPr>
            <a:lvl3pPr marL="822960" indent="-228600" algn="l" defTabSz="914400" rtl="0" eaLnBrk="1" latinLnBrk="0" hangingPunct="1">
              <a:lnSpc>
                <a:spcPct val="90000"/>
              </a:lnSpc>
              <a:spcBef>
                <a:spcPts val="800"/>
              </a:spcBef>
              <a:buFont typeface="Arial" panose="020B0604020202020204" pitchFamily="34" charset="0"/>
              <a:buChar char="•"/>
              <a:defRPr sz="2400" kern="1200">
                <a:solidFill>
                  <a:schemeClr val="tx1"/>
                </a:solidFill>
                <a:latin typeface="Cambria" panose="02040503050406030204" pitchFamily="18" charset="0"/>
                <a:ea typeface="+mn-ea"/>
                <a:cs typeface="+mn-cs"/>
              </a:defRPr>
            </a:lvl3pPr>
            <a:lvl4pPr marL="1097280" indent="-228600" algn="l" defTabSz="914400" rtl="0" eaLnBrk="1" latinLnBrk="0" hangingPunct="1">
              <a:lnSpc>
                <a:spcPct val="90000"/>
              </a:lnSpc>
              <a:spcBef>
                <a:spcPts val="800"/>
              </a:spcBef>
              <a:buFont typeface="Arial" panose="020B0604020202020204" pitchFamily="34" charset="0"/>
              <a:buChar char="•"/>
              <a:defRPr sz="2000" kern="1200">
                <a:solidFill>
                  <a:schemeClr val="tx1"/>
                </a:solidFill>
                <a:latin typeface="Cambria" panose="02040503050406030204" pitchFamily="18" charset="0"/>
                <a:ea typeface="+mn-ea"/>
                <a:cs typeface="+mn-cs"/>
              </a:defRPr>
            </a:lvl4pPr>
            <a:lvl5pPr marL="1325880" indent="-228600" algn="l" defTabSz="914400" rtl="0" eaLnBrk="1" latinLnBrk="0" hangingPunct="1">
              <a:lnSpc>
                <a:spcPct val="90000"/>
              </a:lnSpc>
              <a:spcBef>
                <a:spcPts val="800"/>
              </a:spcBef>
              <a:buFont typeface="Arial" panose="020B0604020202020204" pitchFamily="34" charset="0"/>
              <a:buChar char="•"/>
              <a:defRPr sz="2000" kern="1200">
                <a:solidFill>
                  <a:schemeClr val="tx1"/>
                </a:solidFill>
                <a:latin typeface="Cambria" panose="02040503050406030204" pitchFamily="18" charset="0"/>
                <a:ea typeface="+mn-ea"/>
                <a:cs typeface="+mn-cs"/>
              </a:defRPr>
            </a:lvl5pPr>
            <a:lvl6pPr marL="15544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6pPr>
            <a:lvl7pPr marL="17830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7pPr>
            <a:lvl8pPr marL="20116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8pPr>
            <a:lvl9pPr marL="2240280" indent="-22860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9pPr>
          </a:lstStyle>
          <a:p>
            <a:pPr marL="0" indent="0" algn="ctr">
              <a:buNone/>
            </a:pPr>
            <a:r>
              <a:rPr lang="en-US">
                <a:latin typeface="+mj-lt"/>
              </a:rPr>
              <a:t> </a:t>
            </a:r>
            <a:r>
              <a:rPr lang="en-US" sz="2800">
                <a:latin typeface="+mj-lt"/>
                <a:hlinkClick r:id="rId10"/>
              </a:rPr>
              <a:t>collegebound@wsac.wa.gov</a:t>
            </a:r>
            <a:r>
              <a:rPr lang="en-US" sz="2800">
                <a:latin typeface="+mj-lt"/>
              </a:rPr>
              <a:t> o 888-535-0747, opción 1</a:t>
            </a:r>
            <a:endParaRPr lang="en-US">
              <a:latin typeface="+mj-lt"/>
            </a:endParaRPr>
          </a:p>
        </p:txBody>
      </p:sp>
    </p:spTree>
    <p:extLst>
      <p:ext uri="{BB962C8B-B14F-4D97-AF65-F5344CB8AC3E}">
        <p14:creationId xmlns:p14="http://schemas.microsoft.com/office/powerpoint/2010/main" val="38856885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BDDDBB1E-6252-4FCA-A062-CB8D5D6F6A2D}"/>
              </a:ext>
            </a:extLst>
          </p:cNvPr>
          <p:cNvGraphicFramePr>
            <a:graphicFrameLocks noGrp="1"/>
          </p:cNvGraphicFramePr>
          <p:nvPr>
            <p:ph idx="1"/>
            <p:extLst>
              <p:ext uri="{D42A27DB-BD31-4B8C-83A1-F6EECF244321}">
                <p14:modId xmlns:p14="http://schemas.microsoft.com/office/powerpoint/2010/main" val="2210153269"/>
              </p:ext>
            </p:extLst>
          </p:nvPr>
        </p:nvGraphicFramePr>
        <p:xfrm>
          <a:off x="374737" y="1825625"/>
          <a:ext cx="6289675" cy="46672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A54CBD6A-0CE3-45B2-B658-BF4D0C5C28C1}"/>
              </a:ext>
            </a:extLst>
          </p:cNvPr>
          <p:cNvSpPr>
            <a:spLocks noGrp="1"/>
          </p:cNvSpPr>
          <p:nvPr>
            <p:ph type="title"/>
          </p:nvPr>
        </p:nvSpPr>
        <p:spPr/>
        <p:txBody>
          <a:bodyPr>
            <a:normAutofit/>
          </a:bodyPr>
          <a:lstStyle/>
          <a:p>
            <a:r>
              <a:rPr lang="en-US" sz="4400" err="1"/>
              <a:t>Calculadora</a:t>
            </a:r>
            <a:r>
              <a:rPr lang="en-US" sz="4400"/>
              <a:t> de </a:t>
            </a:r>
            <a:r>
              <a:rPr lang="en-US" sz="4400" err="1"/>
              <a:t>Ayuda</a:t>
            </a:r>
            <a:r>
              <a:rPr lang="en-US" sz="4400"/>
              <a:t> </a:t>
            </a:r>
            <a:r>
              <a:rPr lang="en-US" sz="4400" err="1"/>
              <a:t>Financiera</a:t>
            </a:r>
            <a:r>
              <a:rPr lang="en-US" sz="4400"/>
              <a:t> </a:t>
            </a:r>
            <a:r>
              <a:rPr lang="en-US" sz="4400" err="1"/>
              <a:t>Estatal</a:t>
            </a:r>
            <a:endParaRPr lang="en-US" sz="4400"/>
          </a:p>
        </p:txBody>
      </p:sp>
      <p:sp>
        <p:nvSpPr>
          <p:cNvPr id="12" name="Rectangle 11">
            <a:extLst>
              <a:ext uri="{FF2B5EF4-FFF2-40B4-BE49-F238E27FC236}">
                <a16:creationId xmlns:a16="http://schemas.microsoft.com/office/drawing/2014/main" id="{A0F64326-D204-4B79-96AA-8287A4B4E5EF}"/>
              </a:ext>
            </a:extLst>
          </p:cNvPr>
          <p:cNvSpPr/>
          <p:nvPr/>
        </p:nvSpPr>
        <p:spPr>
          <a:xfrm>
            <a:off x="7515714" y="6233534"/>
            <a:ext cx="3618266" cy="369332"/>
          </a:xfrm>
          <a:prstGeom prst="rect">
            <a:avLst/>
          </a:prstGeom>
        </p:spPr>
        <p:txBody>
          <a:bodyPr wrap="square">
            <a:spAutoFit/>
          </a:bodyPr>
          <a:lstStyle/>
          <a:p>
            <a:pPr lvl="0"/>
            <a:r>
              <a:rPr lang="en-US">
                <a:latin typeface="Tw Cen MT" panose="020B0602020104020603" pitchFamily="34" charset="0"/>
              </a:rPr>
              <a:t>portal.wsac.wa.gov/a/aid-calculator </a:t>
            </a:r>
            <a:endParaRPr lang="en-US"/>
          </a:p>
        </p:txBody>
      </p:sp>
      <p:pic>
        <p:nvPicPr>
          <p:cNvPr id="7" name="Picture 6">
            <a:extLst>
              <a:ext uri="{FF2B5EF4-FFF2-40B4-BE49-F238E27FC236}">
                <a16:creationId xmlns:a16="http://schemas.microsoft.com/office/drawing/2014/main" id="{33EC8534-E2C1-EEFD-909A-8E595888C09A}"/>
              </a:ext>
            </a:extLst>
          </p:cNvPr>
          <p:cNvPicPr>
            <a:picLocks noChangeAspect="1"/>
          </p:cNvPicPr>
          <p:nvPr/>
        </p:nvPicPr>
        <p:blipFill>
          <a:blip r:embed="rId8"/>
          <a:stretch>
            <a:fillRect/>
          </a:stretch>
        </p:blipFill>
        <p:spPr>
          <a:xfrm>
            <a:off x="7800100" y="1682188"/>
            <a:ext cx="3049494" cy="4558587"/>
          </a:xfrm>
          <a:prstGeom prst="rect">
            <a:avLst/>
          </a:prstGeom>
        </p:spPr>
      </p:pic>
    </p:spTree>
    <p:extLst>
      <p:ext uri="{BB962C8B-B14F-4D97-AF65-F5344CB8AC3E}">
        <p14:creationId xmlns:p14="http://schemas.microsoft.com/office/powerpoint/2010/main" val="1331907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95400" y="255134"/>
            <a:ext cx="10660380" cy="1036850"/>
          </a:xfrm>
        </p:spPr>
        <p:txBody>
          <a:bodyPr>
            <a:noAutofit/>
          </a:bodyPr>
          <a:lstStyle/>
          <a:p>
            <a:r>
              <a:rPr lang="en-US" sz="4400">
                <a:latin typeface="Tw Cen MT Condensed Extra Bold" panose="020B0803020202020204" pitchFamily="34" charset="0"/>
              </a:rPr>
              <a:t>FAFSA/WASFA: </a:t>
            </a:r>
            <a:r>
              <a:rPr lang="en-US" sz="4400" err="1">
                <a:latin typeface="Tw Cen MT Condensed Extra Bold" panose="020B0803020202020204" pitchFamily="34" charset="0"/>
              </a:rPr>
              <a:t>Regla</a:t>
            </a:r>
            <a:r>
              <a:rPr lang="en-US" sz="4400">
                <a:latin typeface="Tw Cen MT Condensed Extra Bold" panose="020B0803020202020204" pitchFamily="34" charset="0"/>
              </a:rPr>
              <a:t> de Uno</a:t>
            </a:r>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2491141072"/>
              </p:ext>
            </p:extLst>
          </p:nvPr>
        </p:nvGraphicFramePr>
        <p:xfrm>
          <a:off x="1013423" y="2549340"/>
          <a:ext cx="10261944" cy="3105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5578434" y="3809527"/>
            <a:ext cx="1131921" cy="584775"/>
          </a:xfrm>
          <a:prstGeom prst="rect">
            <a:avLst/>
          </a:prstGeom>
          <a:noFill/>
        </p:spPr>
        <p:txBody>
          <a:bodyPr wrap="square" rtlCol="0" anchor="ctr">
            <a:spAutoFit/>
          </a:bodyPr>
          <a:lstStyle/>
          <a:p>
            <a:pPr algn="ctr"/>
            <a:r>
              <a:rPr lang="en-US" sz="3200" b="1" u="sng">
                <a:latin typeface="+mj-lt"/>
              </a:rPr>
              <a:t>O</a:t>
            </a:r>
            <a:endParaRPr lang="en-US" sz="3600" b="1" u="sng">
              <a:latin typeface="+mj-lt"/>
            </a:endParaRPr>
          </a:p>
        </p:txBody>
      </p:sp>
    </p:spTree>
    <p:extLst>
      <p:ext uri="{BB962C8B-B14F-4D97-AF65-F5344CB8AC3E}">
        <p14:creationId xmlns:p14="http://schemas.microsoft.com/office/powerpoint/2010/main" val="67114381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0F7C42-F97F-4FC0-8AFC-CA4902E1A479}"/>
              </a:ext>
            </a:extLst>
          </p:cNvPr>
          <p:cNvSpPr>
            <a:spLocks noGrp="1"/>
          </p:cNvSpPr>
          <p:nvPr>
            <p:ph type="title"/>
          </p:nvPr>
        </p:nvSpPr>
        <p:spPr/>
        <p:txBody>
          <a:bodyPr>
            <a:noAutofit/>
          </a:bodyPr>
          <a:lstStyle/>
          <a:p>
            <a:r>
              <a:rPr lang="es-ES" sz="4400"/>
              <a:t>Solicitud Gratuita de Ayuda Federal para Estudiantes</a:t>
            </a:r>
            <a:r>
              <a:rPr lang="en-US" sz="4400"/>
              <a:t>(FAFSA)</a:t>
            </a:r>
          </a:p>
        </p:txBody>
      </p:sp>
      <p:pic>
        <p:nvPicPr>
          <p:cNvPr id="4" name="Picture 3">
            <a:extLst>
              <a:ext uri="{FF2B5EF4-FFF2-40B4-BE49-F238E27FC236}">
                <a16:creationId xmlns:a16="http://schemas.microsoft.com/office/drawing/2014/main" id="{6105A56E-751E-49F0-9732-6E26E4733444}"/>
              </a:ext>
            </a:extLst>
          </p:cNvPr>
          <p:cNvPicPr>
            <a:picLocks noChangeAspect="1"/>
          </p:cNvPicPr>
          <p:nvPr/>
        </p:nvPicPr>
        <p:blipFill>
          <a:blip r:embed="rId3"/>
          <a:stretch>
            <a:fillRect/>
          </a:stretch>
        </p:blipFill>
        <p:spPr>
          <a:xfrm>
            <a:off x="710453" y="1990882"/>
            <a:ext cx="10771094" cy="4019235"/>
          </a:xfrm>
          <a:prstGeom prst="rect">
            <a:avLst/>
          </a:prstGeom>
        </p:spPr>
      </p:pic>
    </p:spTree>
    <p:extLst>
      <p:ext uri="{BB962C8B-B14F-4D97-AF65-F5344CB8AC3E}">
        <p14:creationId xmlns:p14="http://schemas.microsoft.com/office/powerpoint/2010/main" val="1305037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95400" y="224654"/>
            <a:ext cx="9601200" cy="1036850"/>
          </a:xfrm>
        </p:spPr>
        <p:txBody>
          <a:bodyPr>
            <a:normAutofit/>
          </a:bodyPr>
          <a:lstStyle/>
          <a:p>
            <a:r>
              <a:rPr lang="en-US" sz="4400" err="1"/>
              <a:t>Sobre</a:t>
            </a:r>
            <a:r>
              <a:rPr lang="en-US" sz="4400"/>
              <a:t> </a:t>
            </a:r>
            <a:r>
              <a:rPr lang="en-US" sz="4400" err="1"/>
              <a:t>el</a:t>
            </a:r>
            <a:r>
              <a:rPr lang="en-US" sz="4400"/>
              <a:t> </a:t>
            </a:r>
            <a:r>
              <a:rPr lang="en-US" sz="4400" err="1"/>
              <a:t>Consejo</a:t>
            </a:r>
            <a:r>
              <a:rPr lang="en-US" sz="4400"/>
              <a:t> </a:t>
            </a:r>
            <a:r>
              <a:rPr lang="en-US" sz="4400" err="1"/>
              <a:t>Estudiantil</a:t>
            </a:r>
            <a:r>
              <a:rPr lang="en-US" sz="4400"/>
              <a:t> de Washington </a:t>
            </a:r>
          </a:p>
        </p:txBody>
      </p:sp>
      <p:sp>
        <p:nvSpPr>
          <p:cNvPr id="17" name="Slide Number Placeholder 16"/>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812E0E-C58D-45CD-BD69-23634E9A667D}" type="slidenum">
              <a:rPr kumimoji="0" lang="en-US" sz="1200" b="0" i="0" u="none" strike="noStrike" kern="1200" cap="none" spc="0" normalizeH="0" baseline="0" noProof="0" smtClean="0">
                <a:ln>
                  <a:noFill/>
                </a:ln>
                <a:solidFill>
                  <a:srgbClr val="44546A">
                    <a:lumMod val="75000"/>
                  </a:srgbClr>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44546A">
                  <a:lumMod val="75000"/>
                </a:srgbClr>
              </a:solidFill>
              <a:effectLst/>
              <a:uLnTx/>
              <a:uFillTx/>
              <a:latin typeface="Century Gothic" panose="020F0302020204030204"/>
              <a:ea typeface="+mn-ea"/>
              <a:cs typeface="+mn-cs"/>
            </a:endParaRPr>
          </a:p>
        </p:txBody>
      </p:sp>
      <p:sp>
        <p:nvSpPr>
          <p:cNvPr id="19" name="TextBox 18"/>
          <p:cNvSpPr txBox="1"/>
          <p:nvPr/>
        </p:nvSpPr>
        <p:spPr>
          <a:xfrm>
            <a:off x="3924136" y="3069412"/>
            <a:ext cx="8148415" cy="1077218"/>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200">
                <a:solidFill>
                  <a:prstClr val="black">
                    <a:lumMod val="75000"/>
                    <a:lumOff val="25000"/>
                  </a:prstClr>
                </a:solidFill>
                <a:latin typeface="+mj-lt"/>
              </a:rPr>
              <a:t>Nosotros </a:t>
            </a:r>
            <a:r>
              <a:rPr lang="en-US" sz="3200" err="1">
                <a:solidFill>
                  <a:prstClr val="black">
                    <a:lumMod val="75000"/>
                    <a:lumOff val="25000"/>
                  </a:prstClr>
                </a:solidFill>
                <a:latin typeface="+mj-lt"/>
              </a:rPr>
              <a:t>promovemos</a:t>
            </a:r>
            <a:r>
              <a:rPr lang="en-US" sz="3200">
                <a:solidFill>
                  <a:prstClr val="black">
                    <a:lumMod val="75000"/>
                    <a:lumOff val="25000"/>
                  </a:prstClr>
                </a:solidFill>
                <a:latin typeface="+mj-lt"/>
              </a:rPr>
              <a:t> </a:t>
            </a:r>
            <a:r>
              <a:rPr lang="en-US" sz="3200" err="1">
                <a:solidFill>
                  <a:prstClr val="black">
                    <a:lumMod val="75000"/>
                    <a:lumOff val="25000"/>
                  </a:prstClr>
                </a:solidFill>
                <a:latin typeface="+mj-lt"/>
              </a:rPr>
              <a:t>oportunidades</a:t>
            </a:r>
            <a:r>
              <a:rPr lang="en-US" sz="3200">
                <a:solidFill>
                  <a:prstClr val="black">
                    <a:lumMod val="75000"/>
                    <a:lumOff val="25000"/>
                  </a:prstClr>
                </a:solidFill>
                <a:latin typeface="+mj-lt"/>
              </a:rPr>
              <a:t> y </a:t>
            </a:r>
            <a:r>
              <a:rPr lang="en-US" sz="3200" err="1">
                <a:solidFill>
                  <a:prstClr val="black">
                    <a:lumMod val="75000"/>
                    <a:lumOff val="25000"/>
                  </a:prstClr>
                </a:solidFill>
                <a:latin typeface="+mj-lt"/>
              </a:rPr>
              <a:t>logros</a:t>
            </a:r>
            <a:r>
              <a:rPr lang="en-US" sz="3200">
                <a:solidFill>
                  <a:prstClr val="black">
                    <a:lumMod val="75000"/>
                    <a:lumOff val="25000"/>
                  </a:prstClr>
                </a:solidFill>
                <a:latin typeface="+mj-lt"/>
              </a:rPr>
              <a:t> educacionales en el </a:t>
            </a:r>
            <a:r>
              <a:rPr lang="en-US" sz="3200" err="1">
                <a:solidFill>
                  <a:prstClr val="black">
                    <a:lumMod val="75000"/>
                    <a:lumOff val="25000"/>
                  </a:prstClr>
                </a:solidFill>
                <a:latin typeface="+mj-lt"/>
              </a:rPr>
              <a:t>estado</a:t>
            </a:r>
            <a:r>
              <a:rPr lang="en-US" sz="3200">
                <a:solidFill>
                  <a:prstClr val="black">
                    <a:lumMod val="75000"/>
                    <a:lumOff val="25000"/>
                  </a:prstClr>
                </a:solidFill>
                <a:latin typeface="+mj-lt"/>
              </a:rPr>
              <a:t> de Washington</a:t>
            </a:r>
            <a:endParaRPr kumimoji="0" lang="en-US" sz="3200" b="0" i="0" u="none" strike="noStrike" kern="1200" cap="none" spc="0" normalizeH="0" baseline="0" noProof="0">
              <a:ln>
                <a:noFill/>
              </a:ln>
              <a:solidFill>
                <a:prstClr val="black">
                  <a:lumMod val="75000"/>
                  <a:lumOff val="25000"/>
                </a:prstClr>
              </a:solidFill>
              <a:effectLst/>
              <a:uLnTx/>
              <a:uFillTx/>
              <a:latin typeface="+mj-lt"/>
              <a:ea typeface="+mn-ea"/>
              <a:cs typeface="+mn-cs"/>
            </a:endParaRPr>
          </a:p>
        </p:txBody>
      </p:sp>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l="2887" t="10251" r="83764" b="13974"/>
          <a:stretch/>
        </p:blipFill>
        <p:spPr>
          <a:xfrm>
            <a:off x="268802" y="1690688"/>
            <a:ext cx="3655334" cy="4569170"/>
          </a:xfrm>
          <a:prstGeom prst="rect">
            <a:avLst/>
          </a:prstGeom>
        </p:spPr>
      </p:pic>
    </p:spTree>
    <p:extLst>
      <p:ext uri="{BB962C8B-B14F-4D97-AF65-F5344CB8AC3E}">
        <p14:creationId xmlns:p14="http://schemas.microsoft.com/office/powerpoint/2010/main" val="22309186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3DC75201-62FB-467C-AD9D-08A284815132}"/>
              </a:ext>
            </a:extLst>
          </p:cNvPr>
          <p:cNvGraphicFramePr>
            <a:graphicFrameLocks noGrp="1"/>
          </p:cNvGraphicFramePr>
          <p:nvPr>
            <p:ph idx="1"/>
            <p:extLst>
              <p:ext uri="{D42A27DB-BD31-4B8C-83A1-F6EECF244321}">
                <p14:modId xmlns:p14="http://schemas.microsoft.com/office/powerpoint/2010/main" val="4040533233"/>
              </p:ext>
            </p:extLst>
          </p:nvPr>
        </p:nvGraphicFramePr>
        <p:xfrm>
          <a:off x="769055" y="1825625"/>
          <a:ext cx="10723034" cy="47772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23938007-DEF8-4CBE-81C7-40C6171FFDDE}"/>
              </a:ext>
            </a:extLst>
          </p:cNvPr>
          <p:cNvSpPr>
            <a:spLocks noGrp="1"/>
          </p:cNvSpPr>
          <p:nvPr>
            <p:ph type="title"/>
          </p:nvPr>
        </p:nvSpPr>
        <p:spPr/>
        <p:txBody>
          <a:bodyPr>
            <a:normAutofit/>
          </a:bodyPr>
          <a:lstStyle/>
          <a:p>
            <a:r>
              <a:rPr lang="en-US" sz="4400"/>
              <a:t>Dos </a:t>
            </a:r>
            <a:r>
              <a:rPr lang="en-US" sz="4400" err="1"/>
              <a:t>Maneras</a:t>
            </a:r>
            <a:r>
              <a:rPr lang="en-US" sz="4400"/>
              <a:t> Para </a:t>
            </a:r>
            <a:r>
              <a:rPr lang="en-US" sz="4400" err="1"/>
              <a:t>Aplicar</a:t>
            </a:r>
            <a:r>
              <a:rPr lang="en-US" sz="4400"/>
              <a:t> al FASFA</a:t>
            </a:r>
          </a:p>
        </p:txBody>
      </p:sp>
    </p:spTree>
    <p:extLst>
      <p:ext uri="{BB962C8B-B14F-4D97-AF65-F5344CB8AC3E}">
        <p14:creationId xmlns:p14="http://schemas.microsoft.com/office/powerpoint/2010/main" val="1562695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960EDC8E-6B64-4EE5-9A5E-B7AEA31B3AD1}"/>
              </a:ext>
            </a:extLst>
          </p:cNvPr>
          <p:cNvGraphicFramePr>
            <a:graphicFrameLocks noGrp="1"/>
          </p:cNvGraphicFramePr>
          <p:nvPr>
            <p:ph idx="1"/>
            <p:extLst>
              <p:ext uri="{D42A27DB-BD31-4B8C-83A1-F6EECF244321}">
                <p14:modId xmlns:p14="http://schemas.microsoft.com/office/powerpoint/2010/main" val="568288886"/>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9431D4C5-198F-4321-9DA0-96E8DFB6EC60}"/>
              </a:ext>
            </a:extLst>
          </p:cNvPr>
          <p:cNvSpPr>
            <a:spLocks noGrp="1"/>
          </p:cNvSpPr>
          <p:nvPr>
            <p:ph type="title"/>
          </p:nvPr>
        </p:nvSpPr>
        <p:spPr/>
        <p:txBody>
          <a:bodyPr>
            <a:normAutofit/>
          </a:bodyPr>
          <a:lstStyle/>
          <a:p>
            <a:r>
              <a:rPr lang="es-ES" sz="4400"/>
              <a:t>Opciones de Idioma del Sitio Web de FAFSA</a:t>
            </a:r>
            <a:endParaRPr lang="en-US" sz="4400"/>
          </a:p>
        </p:txBody>
      </p:sp>
    </p:spTree>
    <p:extLst>
      <p:ext uri="{BB962C8B-B14F-4D97-AF65-F5344CB8AC3E}">
        <p14:creationId xmlns:p14="http://schemas.microsoft.com/office/powerpoint/2010/main" val="9529307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a:t>FSA ID – El Primer Paso Para el FASFA</a:t>
            </a:r>
          </a:p>
        </p:txBody>
      </p:sp>
      <p:graphicFrame>
        <p:nvGraphicFramePr>
          <p:cNvPr id="3" name="Diagram 2">
            <a:extLst>
              <a:ext uri="{FF2B5EF4-FFF2-40B4-BE49-F238E27FC236}">
                <a16:creationId xmlns:a16="http://schemas.microsoft.com/office/drawing/2014/main" id="{12EEA855-CFB9-43F1-AD18-A39652A322DB}"/>
              </a:ext>
            </a:extLst>
          </p:cNvPr>
          <p:cNvGraphicFramePr/>
          <p:nvPr>
            <p:extLst>
              <p:ext uri="{D42A27DB-BD31-4B8C-83A1-F6EECF244321}">
                <p14:modId xmlns:p14="http://schemas.microsoft.com/office/powerpoint/2010/main" val="1012918615"/>
              </p:ext>
            </p:extLst>
          </p:nvPr>
        </p:nvGraphicFramePr>
        <p:xfrm>
          <a:off x="-685554" y="1929925"/>
          <a:ext cx="5217886" cy="438370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descr="Graphical user interface, text, application, email&#10;&#10;Description automatically generated">
            <a:extLst>
              <a:ext uri="{FF2B5EF4-FFF2-40B4-BE49-F238E27FC236}">
                <a16:creationId xmlns:a16="http://schemas.microsoft.com/office/drawing/2014/main" id="{08FA67B2-8216-493A-9416-5ABA280C970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53750" y="1632871"/>
            <a:ext cx="4068763" cy="5040017"/>
          </a:xfrm>
          <a:prstGeom prst="rect">
            <a:avLst/>
          </a:prstGeom>
        </p:spPr>
      </p:pic>
      <p:sp>
        <p:nvSpPr>
          <p:cNvPr id="5" name="Right Arrow 4"/>
          <p:cNvSpPr/>
          <p:nvPr/>
        </p:nvSpPr>
        <p:spPr>
          <a:xfrm rot="9748345">
            <a:off x="5223635" y="2555432"/>
            <a:ext cx="969818" cy="426027"/>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D573A7AB-A141-4276-8D17-F765BF179341}"/>
              </a:ext>
            </a:extLst>
          </p:cNvPr>
          <p:cNvPicPr>
            <a:picLocks noChangeAspect="1"/>
          </p:cNvPicPr>
          <p:nvPr/>
        </p:nvPicPr>
        <p:blipFill>
          <a:blip r:embed="rId9"/>
          <a:stretch>
            <a:fillRect/>
          </a:stretch>
        </p:blipFill>
        <p:spPr>
          <a:xfrm>
            <a:off x="8238251" y="1632871"/>
            <a:ext cx="3716681" cy="4969995"/>
          </a:xfrm>
          <a:prstGeom prst="rect">
            <a:avLst/>
          </a:prstGeom>
        </p:spPr>
      </p:pic>
    </p:spTree>
    <p:extLst>
      <p:ext uri="{BB962C8B-B14F-4D97-AF65-F5344CB8AC3E}">
        <p14:creationId xmlns:p14="http://schemas.microsoft.com/office/powerpoint/2010/main" val="95345253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6A4B76-9F69-47B3-B7F1-E43D77AC0F75}"/>
              </a:ext>
            </a:extLst>
          </p:cNvPr>
          <p:cNvPicPr>
            <a:picLocks noChangeAspect="1"/>
          </p:cNvPicPr>
          <p:nvPr/>
        </p:nvPicPr>
        <p:blipFill>
          <a:blip r:embed="rId3"/>
          <a:stretch>
            <a:fillRect/>
          </a:stretch>
        </p:blipFill>
        <p:spPr>
          <a:xfrm>
            <a:off x="129752" y="1522227"/>
            <a:ext cx="11811235" cy="5124552"/>
          </a:xfrm>
          <a:prstGeom prst="rect">
            <a:avLst/>
          </a:prstGeom>
        </p:spPr>
      </p:pic>
      <p:sp>
        <p:nvSpPr>
          <p:cNvPr id="2" name="Title 1">
            <a:extLst>
              <a:ext uri="{FF2B5EF4-FFF2-40B4-BE49-F238E27FC236}">
                <a16:creationId xmlns:a16="http://schemas.microsoft.com/office/drawing/2014/main" id="{A43753A4-FEBE-40DE-BC59-10895A4654C5}"/>
              </a:ext>
            </a:extLst>
          </p:cNvPr>
          <p:cNvSpPr>
            <a:spLocks noGrp="1"/>
          </p:cNvSpPr>
          <p:nvPr>
            <p:ph type="title"/>
          </p:nvPr>
        </p:nvSpPr>
        <p:spPr>
          <a:xfrm>
            <a:off x="1077971" y="51048"/>
            <a:ext cx="12203131" cy="1267092"/>
          </a:xfrm>
        </p:spPr>
        <p:txBody>
          <a:bodyPr>
            <a:noAutofit/>
          </a:bodyPr>
          <a:lstStyle/>
          <a:p>
            <a:r>
              <a:rPr lang="es-ES" sz="4400"/>
              <a:t>Solicitud de Ayuda Financiera del Estado de</a:t>
            </a:r>
            <a:br>
              <a:rPr lang="es-ES" sz="4400"/>
            </a:br>
            <a:r>
              <a:rPr lang="es-ES" sz="4400"/>
              <a:t>Washington</a:t>
            </a:r>
            <a:r>
              <a:rPr lang="en-US" sz="4400"/>
              <a:t> (WASFA)</a:t>
            </a:r>
          </a:p>
        </p:txBody>
      </p:sp>
      <p:sp>
        <p:nvSpPr>
          <p:cNvPr id="3" name="Content Placeholder 2">
            <a:extLst>
              <a:ext uri="{FF2B5EF4-FFF2-40B4-BE49-F238E27FC236}">
                <a16:creationId xmlns:a16="http://schemas.microsoft.com/office/drawing/2014/main" id="{072D6B64-694F-45DD-BA2C-F99FBE672DFE}"/>
              </a:ext>
            </a:extLst>
          </p:cNvPr>
          <p:cNvSpPr>
            <a:spLocks noGrp="1"/>
          </p:cNvSpPr>
          <p:nvPr>
            <p:ph idx="1"/>
          </p:nvPr>
        </p:nvSpPr>
        <p:spPr>
          <a:xfrm>
            <a:off x="1846383" y="6195887"/>
            <a:ext cx="9601200" cy="654978"/>
          </a:xfrm>
        </p:spPr>
        <p:txBody>
          <a:bodyPr/>
          <a:lstStyle/>
          <a:p>
            <a:pPr marL="0" indent="0" algn="ctr">
              <a:buNone/>
            </a:pPr>
            <a:r>
              <a:rPr lang="en-US" u="sng">
                <a:hlinkClick r:id="rId4"/>
              </a:rPr>
              <a:t>https://wsac.wa.gov/WASFA</a:t>
            </a:r>
            <a:endParaRPr lang="en-US"/>
          </a:p>
        </p:txBody>
      </p:sp>
      <p:sp>
        <p:nvSpPr>
          <p:cNvPr id="5" name="Arrow: Right 4">
            <a:extLst>
              <a:ext uri="{FF2B5EF4-FFF2-40B4-BE49-F238E27FC236}">
                <a16:creationId xmlns:a16="http://schemas.microsoft.com/office/drawing/2014/main" id="{34BA052D-C5F2-4F58-8FC2-3EFD672451C6}"/>
              </a:ext>
            </a:extLst>
          </p:cNvPr>
          <p:cNvSpPr/>
          <p:nvPr/>
        </p:nvSpPr>
        <p:spPr>
          <a:xfrm rot="11652415">
            <a:off x="903169" y="6268462"/>
            <a:ext cx="1160980" cy="446769"/>
          </a:xfrm>
          <a:prstGeom prst="rightArrow">
            <a:avLst>
              <a:gd name="adj1" fmla="val 42244"/>
              <a:gd name="adj2" fmla="val 50000"/>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780788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753A4-FEBE-40DE-BC59-10895A4654C5}"/>
              </a:ext>
            </a:extLst>
          </p:cNvPr>
          <p:cNvSpPr>
            <a:spLocks noGrp="1"/>
          </p:cNvSpPr>
          <p:nvPr>
            <p:ph type="title"/>
          </p:nvPr>
        </p:nvSpPr>
        <p:spPr>
          <a:xfrm>
            <a:off x="1008010" y="268221"/>
            <a:ext cx="11302935" cy="1036850"/>
          </a:xfrm>
        </p:spPr>
        <p:txBody>
          <a:bodyPr>
            <a:noAutofit/>
          </a:bodyPr>
          <a:lstStyle/>
          <a:p>
            <a:r>
              <a:rPr lang="es-ES" sz="4400"/>
              <a:t>Creación de Cuenta WASFA: El Primer Paso Hacia WASFA</a:t>
            </a:r>
            <a:endParaRPr lang="en-US" sz="4400"/>
          </a:p>
        </p:txBody>
      </p:sp>
      <p:pic>
        <p:nvPicPr>
          <p:cNvPr id="9" name="Picture 8">
            <a:extLst>
              <a:ext uri="{FF2B5EF4-FFF2-40B4-BE49-F238E27FC236}">
                <a16:creationId xmlns:a16="http://schemas.microsoft.com/office/drawing/2014/main" id="{BA06DCE3-D3B1-4332-84E9-5D4B2B4EC863}"/>
              </a:ext>
            </a:extLst>
          </p:cNvPr>
          <p:cNvPicPr>
            <a:picLocks noChangeAspect="1"/>
          </p:cNvPicPr>
          <p:nvPr/>
        </p:nvPicPr>
        <p:blipFill rotWithShape="1">
          <a:blip r:embed="rId3"/>
          <a:srcRect r="35180"/>
          <a:stretch/>
        </p:blipFill>
        <p:spPr>
          <a:xfrm>
            <a:off x="5796223" y="1668780"/>
            <a:ext cx="6022397" cy="4934086"/>
          </a:xfrm>
          <a:prstGeom prst="rect">
            <a:avLst/>
          </a:prstGeom>
        </p:spPr>
      </p:pic>
      <p:graphicFrame>
        <p:nvGraphicFramePr>
          <p:cNvPr id="12" name="Diagram 11">
            <a:extLst>
              <a:ext uri="{FF2B5EF4-FFF2-40B4-BE49-F238E27FC236}">
                <a16:creationId xmlns:a16="http://schemas.microsoft.com/office/drawing/2014/main" id="{BC8E5469-8CB8-4215-BD34-7362A62C5DBA}"/>
              </a:ext>
            </a:extLst>
          </p:cNvPr>
          <p:cNvGraphicFramePr/>
          <p:nvPr>
            <p:extLst>
              <p:ext uri="{D42A27DB-BD31-4B8C-83A1-F6EECF244321}">
                <p14:modId xmlns:p14="http://schemas.microsoft.com/office/powerpoint/2010/main" val="1786479473"/>
              </p:ext>
            </p:extLst>
          </p:nvPr>
        </p:nvGraphicFramePr>
        <p:xfrm>
          <a:off x="373380" y="1943969"/>
          <a:ext cx="5217886" cy="43837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6728527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8DA43B-6F08-4141-9A38-C866AE6B3CA9}"/>
              </a:ext>
            </a:extLst>
          </p:cNvPr>
          <p:cNvSpPr>
            <a:spLocks noGrp="1"/>
          </p:cNvSpPr>
          <p:nvPr>
            <p:ph type="title"/>
          </p:nvPr>
        </p:nvSpPr>
        <p:spPr>
          <a:xfrm>
            <a:off x="1295400" y="255134"/>
            <a:ext cx="10038644" cy="1036850"/>
          </a:xfrm>
        </p:spPr>
        <p:txBody>
          <a:bodyPr>
            <a:normAutofit/>
          </a:bodyPr>
          <a:lstStyle/>
          <a:p>
            <a:r>
              <a:rPr lang="en-US" sz="4400" b="1">
                <a:latin typeface="Tw Cen MT Condensed" panose="020B0606020104020203" pitchFamily="34" charset="0"/>
              </a:rPr>
              <a:t>¿El Estudiante es Dependiente o Independiente*? </a:t>
            </a:r>
          </a:p>
        </p:txBody>
      </p:sp>
      <p:sp>
        <p:nvSpPr>
          <p:cNvPr id="3" name="Text Placeholder 2">
            <a:extLst>
              <a:ext uri="{FF2B5EF4-FFF2-40B4-BE49-F238E27FC236}">
                <a16:creationId xmlns:a16="http://schemas.microsoft.com/office/drawing/2014/main" id="{54B5EF4E-30E0-44F5-8F8A-DDA20E6145AF}"/>
              </a:ext>
            </a:extLst>
          </p:cNvPr>
          <p:cNvSpPr>
            <a:spLocks noGrp="1"/>
          </p:cNvSpPr>
          <p:nvPr>
            <p:ph type="body" idx="1"/>
          </p:nvPr>
        </p:nvSpPr>
        <p:spPr>
          <a:xfrm>
            <a:off x="611003" y="1707776"/>
            <a:ext cx="4297829" cy="847725"/>
          </a:xfrm>
        </p:spPr>
        <p:txBody>
          <a:bodyPr>
            <a:noAutofit/>
          </a:bodyPr>
          <a:lstStyle/>
          <a:p>
            <a:pPr>
              <a:lnSpc>
                <a:spcPct val="70000"/>
              </a:lnSpc>
            </a:pPr>
            <a:r>
              <a:rPr lang="en-US" sz="2400" u="sng"/>
              <a:t>Estudiante Dependiente</a:t>
            </a:r>
          </a:p>
          <a:p>
            <a:pPr>
              <a:lnSpc>
                <a:spcPct val="70000"/>
              </a:lnSpc>
            </a:pPr>
            <a:r>
              <a:rPr lang="en-US" sz="2400" err="1"/>
              <a:t>Requiere</a:t>
            </a:r>
            <a:r>
              <a:rPr lang="en-US" sz="2400"/>
              <a:t> Información de </a:t>
            </a:r>
            <a:r>
              <a:rPr lang="en-US" sz="2400" err="1"/>
              <a:t>los</a:t>
            </a:r>
            <a:r>
              <a:rPr lang="en-US" sz="2400"/>
              <a:t> Padres.</a:t>
            </a:r>
          </a:p>
        </p:txBody>
      </p:sp>
      <p:sp>
        <p:nvSpPr>
          <p:cNvPr id="4" name="Content Placeholder 3">
            <a:extLst>
              <a:ext uri="{FF2B5EF4-FFF2-40B4-BE49-F238E27FC236}">
                <a16:creationId xmlns:a16="http://schemas.microsoft.com/office/drawing/2014/main" id="{6EAD022D-B478-4029-A58C-F35BB6B3EBFF}"/>
              </a:ext>
            </a:extLst>
          </p:cNvPr>
          <p:cNvSpPr>
            <a:spLocks noGrp="1"/>
          </p:cNvSpPr>
          <p:nvPr>
            <p:ph sz="half" idx="2"/>
          </p:nvPr>
        </p:nvSpPr>
        <p:spPr>
          <a:xfrm>
            <a:off x="952500" y="2555502"/>
            <a:ext cx="3028485" cy="3834266"/>
          </a:xfrm>
        </p:spPr>
        <p:txBody>
          <a:bodyPr>
            <a:normAutofit fontScale="92500"/>
          </a:bodyPr>
          <a:lstStyle/>
          <a:p>
            <a:pPr marL="0" indent="0">
              <a:buNone/>
            </a:pPr>
            <a:r>
              <a:rPr lang="es-ES" sz="2600"/>
              <a:t>Es un estudiante que no cumple con ninguno de los criterios para un estudiante independiente.</a:t>
            </a:r>
            <a:endParaRPr lang="en-US" sz="2600"/>
          </a:p>
          <a:p>
            <a:pPr marL="0" indent="0">
              <a:buNone/>
            </a:pPr>
            <a:endParaRPr lang="en-US" sz="2600"/>
          </a:p>
          <a:p>
            <a:pPr marL="0" indent="0">
              <a:buNone/>
            </a:pPr>
            <a:endParaRPr lang="en-US" sz="2600"/>
          </a:p>
          <a:p>
            <a:pPr marL="0" indent="0">
              <a:buNone/>
            </a:pPr>
            <a:r>
              <a:rPr lang="en-US" sz="2600"/>
              <a:t>*para </a:t>
            </a:r>
            <a:r>
              <a:rPr lang="en-US" sz="2600" err="1"/>
              <a:t>propositos</a:t>
            </a:r>
            <a:r>
              <a:rPr lang="en-US" sz="2600"/>
              <a:t> </a:t>
            </a:r>
            <a:r>
              <a:rPr lang="en-US" sz="2600" err="1"/>
              <a:t>financieros</a:t>
            </a:r>
            <a:endParaRPr lang="en-US" sz="2600"/>
          </a:p>
          <a:p>
            <a:pPr marL="0" indent="0">
              <a:buNone/>
            </a:pPr>
            <a:endParaRPr lang="en-US"/>
          </a:p>
        </p:txBody>
      </p:sp>
      <p:sp>
        <p:nvSpPr>
          <p:cNvPr id="5" name="Text Placeholder 4">
            <a:extLst>
              <a:ext uri="{FF2B5EF4-FFF2-40B4-BE49-F238E27FC236}">
                <a16:creationId xmlns:a16="http://schemas.microsoft.com/office/drawing/2014/main" id="{8D6B5505-13B0-4173-8B39-43FB8B1D111C}"/>
              </a:ext>
            </a:extLst>
          </p:cNvPr>
          <p:cNvSpPr>
            <a:spLocks noGrp="1"/>
          </p:cNvSpPr>
          <p:nvPr>
            <p:ph type="body" sz="quarter" idx="3"/>
          </p:nvPr>
        </p:nvSpPr>
        <p:spPr>
          <a:xfrm>
            <a:off x="5029200" y="1707777"/>
            <a:ext cx="5867400" cy="847725"/>
          </a:xfrm>
        </p:spPr>
        <p:txBody>
          <a:bodyPr>
            <a:normAutofit fontScale="92500" lnSpcReduction="20000"/>
          </a:bodyPr>
          <a:lstStyle/>
          <a:p>
            <a:r>
              <a:rPr lang="en-US" u="sng"/>
              <a:t>Estudiante Independiente</a:t>
            </a:r>
          </a:p>
          <a:p>
            <a:r>
              <a:rPr lang="en-US"/>
              <a:t>No </a:t>
            </a:r>
            <a:r>
              <a:rPr lang="en-US" err="1"/>
              <a:t>requiere</a:t>
            </a:r>
            <a:r>
              <a:rPr lang="en-US"/>
              <a:t> Información de </a:t>
            </a:r>
            <a:r>
              <a:rPr lang="en-US" err="1"/>
              <a:t>los</a:t>
            </a:r>
            <a:r>
              <a:rPr lang="en-US"/>
              <a:t> Padres.</a:t>
            </a:r>
          </a:p>
        </p:txBody>
      </p:sp>
      <p:sp>
        <p:nvSpPr>
          <p:cNvPr id="6" name="Content Placeholder 5">
            <a:extLst>
              <a:ext uri="{FF2B5EF4-FFF2-40B4-BE49-F238E27FC236}">
                <a16:creationId xmlns:a16="http://schemas.microsoft.com/office/drawing/2014/main" id="{E45902AD-1134-4B8A-A38B-6E09B70E6227}"/>
              </a:ext>
            </a:extLst>
          </p:cNvPr>
          <p:cNvSpPr>
            <a:spLocks noGrp="1"/>
          </p:cNvSpPr>
          <p:nvPr>
            <p:ph sz="quarter" idx="4"/>
          </p:nvPr>
        </p:nvSpPr>
        <p:spPr>
          <a:xfrm>
            <a:off x="5029200" y="2555502"/>
            <a:ext cx="7162800" cy="3576444"/>
          </a:xfrm>
        </p:spPr>
        <p:txBody>
          <a:bodyPr>
            <a:noAutofit/>
          </a:bodyPr>
          <a:lstStyle/>
          <a:p>
            <a:pPr marL="0" indent="0">
              <a:spcBef>
                <a:spcPts val="0"/>
              </a:spcBef>
              <a:buNone/>
            </a:pPr>
            <a:r>
              <a:rPr lang="es-ES"/>
              <a:t>Características de un Estudiante Independiente:</a:t>
            </a:r>
          </a:p>
          <a:p>
            <a:pPr>
              <a:spcBef>
                <a:spcPts val="0"/>
              </a:spcBef>
            </a:pPr>
            <a:r>
              <a:rPr lang="en-US"/>
              <a:t>Al </a:t>
            </a:r>
            <a:r>
              <a:rPr lang="en-US" err="1"/>
              <a:t>menos</a:t>
            </a:r>
            <a:r>
              <a:rPr lang="en-US"/>
              <a:t> 24 </a:t>
            </a:r>
            <a:r>
              <a:rPr lang="en-US" err="1"/>
              <a:t>años</a:t>
            </a:r>
            <a:r>
              <a:rPr lang="en-US"/>
              <a:t> de </a:t>
            </a:r>
            <a:r>
              <a:rPr lang="en-US" err="1"/>
              <a:t>edad</a:t>
            </a:r>
            <a:r>
              <a:rPr lang="en-US"/>
              <a:t>.</a:t>
            </a:r>
          </a:p>
          <a:p>
            <a:pPr>
              <a:spcBef>
                <a:spcPts val="0"/>
              </a:spcBef>
            </a:pPr>
            <a:r>
              <a:rPr lang="en-US"/>
              <a:t>Casado.</a:t>
            </a:r>
          </a:p>
          <a:p>
            <a:pPr>
              <a:spcBef>
                <a:spcPts val="0"/>
              </a:spcBef>
            </a:pPr>
            <a:r>
              <a:rPr lang="en-US"/>
              <a:t>Un </a:t>
            </a:r>
            <a:r>
              <a:rPr lang="en-US" err="1"/>
              <a:t>estudiante</a:t>
            </a:r>
            <a:r>
              <a:rPr lang="en-US"/>
              <a:t> </a:t>
            </a:r>
            <a:r>
              <a:rPr lang="en-US" err="1"/>
              <a:t>graduado</a:t>
            </a:r>
            <a:r>
              <a:rPr lang="en-US"/>
              <a:t> o </a:t>
            </a:r>
            <a:r>
              <a:rPr lang="en-US" err="1"/>
              <a:t>profesional</a:t>
            </a:r>
            <a:r>
              <a:rPr lang="en-US"/>
              <a:t>.</a:t>
            </a:r>
          </a:p>
          <a:p>
            <a:pPr>
              <a:spcBef>
                <a:spcPts val="0"/>
              </a:spcBef>
            </a:pPr>
            <a:r>
              <a:rPr lang="en-US"/>
              <a:t>Un </a:t>
            </a:r>
            <a:r>
              <a:rPr lang="en-US" err="1"/>
              <a:t>veterano</a:t>
            </a:r>
            <a:r>
              <a:rPr lang="en-US"/>
              <a:t>.</a:t>
            </a:r>
          </a:p>
          <a:p>
            <a:pPr>
              <a:spcBef>
                <a:spcPts val="0"/>
              </a:spcBef>
            </a:pPr>
            <a:r>
              <a:rPr lang="es-ES"/>
              <a:t>Un miembro de las fuerzas armadas</a:t>
            </a:r>
            <a:r>
              <a:rPr lang="en-US"/>
              <a:t>.</a:t>
            </a:r>
          </a:p>
          <a:p>
            <a:pPr>
              <a:spcBef>
                <a:spcPts val="0"/>
              </a:spcBef>
            </a:pPr>
            <a:r>
              <a:rPr lang="en-US"/>
              <a:t>Un </a:t>
            </a:r>
            <a:r>
              <a:rPr lang="en-US" err="1"/>
              <a:t>huérfano</a:t>
            </a:r>
            <a:r>
              <a:rPr lang="en-US"/>
              <a:t>.</a:t>
            </a:r>
          </a:p>
          <a:p>
            <a:pPr>
              <a:spcBef>
                <a:spcPts val="0"/>
              </a:spcBef>
            </a:pPr>
            <a:r>
              <a:rPr lang="en-US"/>
              <a:t>Un </a:t>
            </a:r>
            <a:r>
              <a:rPr lang="en-US" err="1"/>
              <a:t>pupilo</a:t>
            </a:r>
            <a:r>
              <a:rPr lang="en-US"/>
              <a:t> de la corte (foster care/legal guardianship).</a:t>
            </a:r>
          </a:p>
          <a:p>
            <a:pPr>
              <a:spcBef>
                <a:spcPts val="0"/>
              </a:spcBef>
            </a:pPr>
            <a:r>
              <a:rPr lang="es-ES"/>
              <a:t>Alguien con dependientes legales que no sean un cónyuge.</a:t>
            </a:r>
          </a:p>
          <a:p>
            <a:pPr>
              <a:spcBef>
                <a:spcPts val="0"/>
              </a:spcBef>
            </a:pPr>
            <a:r>
              <a:rPr lang="en-US"/>
              <a:t>Un </a:t>
            </a:r>
            <a:r>
              <a:rPr lang="en-US" err="1"/>
              <a:t>menor</a:t>
            </a:r>
            <a:r>
              <a:rPr lang="en-US"/>
              <a:t> </a:t>
            </a:r>
            <a:r>
              <a:rPr lang="en-US" err="1"/>
              <a:t>emancipado</a:t>
            </a:r>
            <a:r>
              <a:rPr lang="en-US"/>
              <a:t>.</a:t>
            </a:r>
          </a:p>
          <a:p>
            <a:pPr>
              <a:spcBef>
                <a:spcPts val="0"/>
              </a:spcBef>
            </a:pPr>
            <a:r>
              <a:rPr lang="es-ES"/>
              <a:t>Alguien que no tiene hogar o corre el riesgo de quedarse sin hogar y es autosuficiente.</a:t>
            </a:r>
            <a:endParaRPr lang="en-US"/>
          </a:p>
        </p:txBody>
      </p:sp>
    </p:spTree>
    <p:extLst>
      <p:ext uri="{BB962C8B-B14F-4D97-AF65-F5344CB8AC3E}">
        <p14:creationId xmlns:p14="http://schemas.microsoft.com/office/powerpoint/2010/main" val="29435644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F04ED-EA81-46E7-B732-CC09F92C4A58}"/>
              </a:ext>
            </a:extLst>
          </p:cNvPr>
          <p:cNvSpPr>
            <a:spLocks noGrp="1"/>
          </p:cNvSpPr>
          <p:nvPr>
            <p:ph type="title"/>
          </p:nvPr>
        </p:nvSpPr>
        <p:spPr>
          <a:xfrm>
            <a:off x="1116981" y="245327"/>
            <a:ext cx="10736766" cy="1036850"/>
          </a:xfrm>
        </p:spPr>
        <p:txBody>
          <a:bodyPr>
            <a:noAutofit/>
          </a:bodyPr>
          <a:lstStyle/>
          <a:p>
            <a:r>
              <a:rPr lang="es-ES" sz="4400"/>
              <a:t>¿Qué Necesito Para Solicitar Ayuda Financiera?</a:t>
            </a:r>
            <a:endParaRPr lang="en-US" sz="4400"/>
          </a:p>
        </p:txBody>
      </p:sp>
      <p:graphicFrame>
        <p:nvGraphicFramePr>
          <p:cNvPr id="4" name="Content Placeholder 3">
            <a:extLst>
              <a:ext uri="{FF2B5EF4-FFF2-40B4-BE49-F238E27FC236}">
                <a16:creationId xmlns:a16="http://schemas.microsoft.com/office/drawing/2014/main" id="{BAD2A9A8-C598-42A8-A760-7997EA065CE5}"/>
              </a:ext>
            </a:extLst>
          </p:cNvPr>
          <p:cNvGraphicFramePr>
            <a:graphicFrameLocks noGrp="1"/>
          </p:cNvGraphicFramePr>
          <p:nvPr>
            <p:ph idx="1"/>
            <p:extLst>
              <p:ext uri="{D42A27DB-BD31-4B8C-83A1-F6EECF244321}">
                <p14:modId xmlns:p14="http://schemas.microsoft.com/office/powerpoint/2010/main" val="3594952908"/>
              </p:ext>
            </p:extLst>
          </p:nvPr>
        </p:nvGraphicFramePr>
        <p:xfrm>
          <a:off x="254833" y="1633928"/>
          <a:ext cx="11452485" cy="52240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52732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560EC-22C3-4C12-A324-0EA6AA0AFB62}"/>
              </a:ext>
            </a:extLst>
          </p:cNvPr>
          <p:cNvSpPr>
            <a:spLocks noGrp="1"/>
          </p:cNvSpPr>
          <p:nvPr>
            <p:ph type="title"/>
          </p:nvPr>
        </p:nvSpPr>
        <p:spPr/>
        <p:txBody>
          <a:bodyPr>
            <a:normAutofit/>
          </a:bodyPr>
          <a:lstStyle/>
          <a:p>
            <a:r>
              <a:rPr lang="en-US" sz="4400" err="1"/>
              <a:t>Perfil</a:t>
            </a:r>
            <a:r>
              <a:rPr lang="en-US" sz="4400"/>
              <a:t> CSS</a:t>
            </a:r>
          </a:p>
        </p:txBody>
      </p:sp>
      <p:sp>
        <p:nvSpPr>
          <p:cNvPr id="3" name="Content Placeholder 2">
            <a:extLst>
              <a:ext uri="{FF2B5EF4-FFF2-40B4-BE49-F238E27FC236}">
                <a16:creationId xmlns:a16="http://schemas.microsoft.com/office/drawing/2014/main" id="{4D9537A9-5131-47CB-8004-60FF915EA2DA}"/>
              </a:ext>
            </a:extLst>
          </p:cNvPr>
          <p:cNvSpPr>
            <a:spLocks noGrp="1"/>
          </p:cNvSpPr>
          <p:nvPr>
            <p:ph idx="1"/>
          </p:nvPr>
        </p:nvSpPr>
        <p:spPr>
          <a:xfrm>
            <a:off x="6768580" y="1828800"/>
            <a:ext cx="4957010" cy="4650383"/>
          </a:xfrm>
        </p:spPr>
        <p:txBody>
          <a:bodyPr>
            <a:noAutofit/>
          </a:bodyPr>
          <a:lstStyle/>
          <a:p>
            <a:pPr marL="0" indent="0" algn="ctr">
              <a:buNone/>
            </a:pPr>
            <a:r>
              <a:rPr lang="es-ES" sz="2800"/>
              <a:t>Este es un perfil adicional que utilizan algunos colegios para otorgar ayudas institucionales.</a:t>
            </a:r>
            <a:endParaRPr lang="en-US" sz="2800"/>
          </a:p>
          <a:p>
            <a:pPr marL="0" indent="0" algn="ctr">
              <a:buNone/>
            </a:pPr>
            <a:r>
              <a:rPr lang="es-ES" sz="2800"/>
              <a:t>El CSS es un perfil gratuito para estudiantes universitarios nacionales, cuyos ingresos familiares pueden ser de hasta $100,000. La tarifa para la solicitud inicial es de $25. Los informes adicionales cuestan $16.</a:t>
            </a:r>
            <a:endParaRPr lang="en-US" sz="2800"/>
          </a:p>
        </p:txBody>
      </p:sp>
      <p:sp>
        <p:nvSpPr>
          <p:cNvPr id="7" name="TextBox 6">
            <a:extLst>
              <a:ext uri="{FF2B5EF4-FFF2-40B4-BE49-F238E27FC236}">
                <a16:creationId xmlns:a16="http://schemas.microsoft.com/office/drawing/2014/main" id="{6DBFF19E-F75A-4E5B-9CBE-D40113631730}"/>
              </a:ext>
            </a:extLst>
          </p:cNvPr>
          <p:cNvSpPr txBox="1"/>
          <p:nvPr/>
        </p:nvSpPr>
        <p:spPr>
          <a:xfrm>
            <a:off x="674586" y="5369972"/>
            <a:ext cx="6093994" cy="553998"/>
          </a:xfrm>
          <a:prstGeom prst="rect">
            <a:avLst/>
          </a:prstGeom>
          <a:noFill/>
        </p:spPr>
        <p:txBody>
          <a:bodyPr wrap="square">
            <a:spAutoFit/>
          </a:bodyPr>
          <a:lstStyle/>
          <a:p>
            <a:r>
              <a:rPr lang="en-US" sz="2900">
                <a:latin typeface="+mj-lt"/>
              </a:rPr>
              <a:t>https://cssprofile.collegeboard.org/</a:t>
            </a:r>
          </a:p>
        </p:txBody>
      </p:sp>
      <p:pic>
        <p:nvPicPr>
          <p:cNvPr id="9" name="Picture 8">
            <a:extLst>
              <a:ext uri="{FF2B5EF4-FFF2-40B4-BE49-F238E27FC236}">
                <a16:creationId xmlns:a16="http://schemas.microsoft.com/office/drawing/2014/main" id="{C5B78A3F-BC87-22C7-26F6-6FE44161A243}"/>
              </a:ext>
            </a:extLst>
          </p:cNvPr>
          <p:cNvPicPr>
            <a:picLocks noChangeAspect="1"/>
          </p:cNvPicPr>
          <p:nvPr/>
        </p:nvPicPr>
        <p:blipFill>
          <a:blip r:embed="rId3"/>
          <a:stretch>
            <a:fillRect/>
          </a:stretch>
        </p:blipFill>
        <p:spPr>
          <a:xfrm>
            <a:off x="267256" y="2083493"/>
            <a:ext cx="6169157" cy="3080178"/>
          </a:xfrm>
          <a:prstGeom prst="rect">
            <a:avLst/>
          </a:prstGeom>
        </p:spPr>
      </p:pic>
    </p:spTree>
    <p:extLst>
      <p:ext uri="{BB962C8B-B14F-4D97-AF65-F5344CB8AC3E}">
        <p14:creationId xmlns:p14="http://schemas.microsoft.com/office/powerpoint/2010/main" val="8590924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D2116-9B0F-4ABD-9938-0C72B57397B1}"/>
              </a:ext>
            </a:extLst>
          </p:cNvPr>
          <p:cNvSpPr>
            <a:spLocks noGrp="1"/>
          </p:cNvSpPr>
          <p:nvPr>
            <p:ph type="title"/>
          </p:nvPr>
        </p:nvSpPr>
        <p:spPr/>
        <p:txBody>
          <a:bodyPr>
            <a:normAutofit/>
          </a:bodyPr>
          <a:lstStyle/>
          <a:p>
            <a:r>
              <a:rPr lang="es-ES" sz="4400"/>
              <a:t>Cronología de la Ayuda Financiera</a:t>
            </a:r>
            <a:endParaRPr lang="en-US" sz="4400"/>
          </a:p>
        </p:txBody>
      </p:sp>
      <p:graphicFrame>
        <p:nvGraphicFramePr>
          <p:cNvPr id="4" name="Content Placeholder 3">
            <a:extLst>
              <a:ext uri="{FF2B5EF4-FFF2-40B4-BE49-F238E27FC236}">
                <a16:creationId xmlns:a16="http://schemas.microsoft.com/office/drawing/2014/main" id="{00BFE071-297F-4C46-AD83-E2231DCDECDA}"/>
              </a:ext>
            </a:extLst>
          </p:cNvPr>
          <p:cNvGraphicFramePr>
            <a:graphicFrameLocks noGrp="1"/>
          </p:cNvGraphicFramePr>
          <p:nvPr>
            <p:ph idx="1"/>
            <p:extLst>
              <p:ext uri="{D42A27DB-BD31-4B8C-83A1-F6EECF244321}">
                <p14:modId xmlns:p14="http://schemas.microsoft.com/office/powerpoint/2010/main" val="1992925797"/>
              </p:ext>
            </p:extLst>
          </p:nvPr>
        </p:nvGraphicFramePr>
        <p:xfrm>
          <a:off x="420130" y="1606379"/>
          <a:ext cx="10986425" cy="51033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476728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1832594" y="5398128"/>
            <a:ext cx="2431420" cy="830997"/>
          </a:xfrm>
          <a:prstGeom prst="rect">
            <a:avLst/>
          </a:prstGeom>
          <a:noFill/>
        </p:spPr>
        <p:txBody>
          <a:bodyPr wrap="square" rtlCol="0">
            <a:spAutoFit/>
          </a:bodyPr>
          <a:lstStyle/>
          <a:p>
            <a:r>
              <a:rPr lang="en-US" sz="4800">
                <a:solidFill>
                  <a:schemeClr val="bg1"/>
                </a:solidFill>
                <a:latin typeface="Tw Cen MT Condensed" panose="020B0606020104020203" pitchFamily="34" charset="0"/>
              </a:rPr>
              <a:t>OR WASFA</a:t>
            </a:r>
          </a:p>
        </p:txBody>
      </p:sp>
      <p:sp>
        <p:nvSpPr>
          <p:cNvPr id="10" name="Title 2"/>
          <p:cNvSpPr txBox="1">
            <a:spLocks/>
          </p:cNvSpPr>
          <p:nvPr/>
        </p:nvSpPr>
        <p:spPr>
          <a:xfrm>
            <a:off x="1272251" y="267199"/>
            <a:ext cx="10660380" cy="103685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200" kern="1200">
                <a:solidFill>
                  <a:schemeClr val="bg1"/>
                </a:solidFill>
                <a:latin typeface="+mj-lt"/>
                <a:ea typeface="+mj-ea"/>
                <a:cs typeface="+mj-cs"/>
              </a:defRPr>
            </a:lvl1pPr>
          </a:lstStyle>
          <a:p>
            <a:r>
              <a:rPr lang="en-US" sz="4800" err="1">
                <a:latin typeface="Tw Cen MT Condensed Extra Bold" panose="020B0803020202020204" pitchFamily="34" charset="0"/>
              </a:rPr>
              <a:t>Información</a:t>
            </a:r>
            <a:r>
              <a:rPr lang="en-US" sz="4800">
                <a:latin typeface="Tw Cen MT Condensed Extra Bold" panose="020B0803020202020204" pitchFamily="34" charset="0"/>
              </a:rPr>
              <a:t> </a:t>
            </a:r>
            <a:r>
              <a:rPr lang="en-US" sz="4800" err="1">
                <a:latin typeface="Tw Cen MT Condensed Extra Bold" panose="020B0803020202020204" pitchFamily="34" charset="0"/>
              </a:rPr>
              <a:t>Importante</a:t>
            </a:r>
            <a:r>
              <a:rPr lang="en-US" sz="4800">
                <a:latin typeface="Tw Cen MT Condensed Extra Bold" panose="020B0803020202020204" pitchFamily="34" charset="0"/>
              </a:rPr>
              <a:t> para la </a:t>
            </a:r>
            <a:r>
              <a:rPr lang="en-US" sz="4800" err="1">
                <a:latin typeface="Tw Cen MT Condensed Extra Bold" panose="020B0803020202020204" pitchFamily="34" charset="0"/>
              </a:rPr>
              <a:t>Clase</a:t>
            </a:r>
            <a:r>
              <a:rPr lang="en-US" sz="4800">
                <a:latin typeface="Tw Cen MT Condensed Extra Bold" panose="020B0803020202020204" pitchFamily="34" charset="0"/>
              </a:rPr>
              <a:t> 2024</a:t>
            </a:r>
          </a:p>
        </p:txBody>
      </p:sp>
      <p:graphicFrame>
        <p:nvGraphicFramePr>
          <p:cNvPr id="2" name="Diagram 1">
            <a:extLst>
              <a:ext uri="{FF2B5EF4-FFF2-40B4-BE49-F238E27FC236}">
                <a16:creationId xmlns:a16="http://schemas.microsoft.com/office/drawing/2014/main" id="{615B4F7E-243B-5257-D9CF-655759582282}"/>
              </a:ext>
            </a:extLst>
          </p:cNvPr>
          <p:cNvGraphicFramePr/>
          <p:nvPr>
            <p:extLst>
              <p:ext uri="{D42A27DB-BD31-4B8C-83A1-F6EECF244321}">
                <p14:modId xmlns:p14="http://schemas.microsoft.com/office/powerpoint/2010/main" val="1689201592"/>
              </p:ext>
            </p:extLst>
          </p:nvPr>
        </p:nvGraphicFramePr>
        <p:xfrm>
          <a:off x="971341" y="1557494"/>
          <a:ext cx="10249318" cy="30647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991AA783-112E-0C0D-92FB-57CC9E4F0A87}"/>
              </a:ext>
            </a:extLst>
          </p:cNvPr>
          <p:cNvPicPr>
            <a:picLocks noChangeAspect="1"/>
          </p:cNvPicPr>
          <p:nvPr/>
        </p:nvPicPr>
        <p:blipFill>
          <a:blip r:embed="rId8"/>
          <a:stretch>
            <a:fillRect/>
          </a:stretch>
        </p:blipFill>
        <p:spPr>
          <a:xfrm>
            <a:off x="5515192" y="4136308"/>
            <a:ext cx="1161615" cy="1985374"/>
          </a:xfrm>
          <a:prstGeom prst="rect">
            <a:avLst/>
          </a:prstGeom>
        </p:spPr>
      </p:pic>
      <p:pic>
        <p:nvPicPr>
          <p:cNvPr id="12" name="Picture 11">
            <a:extLst>
              <a:ext uri="{FF2B5EF4-FFF2-40B4-BE49-F238E27FC236}">
                <a16:creationId xmlns:a16="http://schemas.microsoft.com/office/drawing/2014/main" id="{25D9046E-C8AD-B529-DE37-E3A91446668D}"/>
              </a:ext>
            </a:extLst>
          </p:cNvPr>
          <p:cNvPicPr>
            <a:picLocks noChangeAspect="1"/>
          </p:cNvPicPr>
          <p:nvPr/>
        </p:nvPicPr>
        <p:blipFill>
          <a:blip r:embed="rId9"/>
          <a:stretch>
            <a:fillRect/>
          </a:stretch>
        </p:blipFill>
        <p:spPr>
          <a:xfrm>
            <a:off x="1832594" y="4136308"/>
            <a:ext cx="1512274" cy="1967499"/>
          </a:xfrm>
          <a:prstGeom prst="rect">
            <a:avLst/>
          </a:prstGeom>
        </p:spPr>
      </p:pic>
      <p:pic>
        <p:nvPicPr>
          <p:cNvPr id="20" name="Picture 19">
            <a:extLst>
              <a:ext uri="{FF2B5EF4-FFF2-40B4-BE49-F238E27FC236}">
                <a16:creationId xmlns:a16="http://schemas.microsoft.com/office/drawing/2014/main" id="{BA022175-0920-313D-59DF-0A86A84739B6}"/>
              </a:ext>
            </a:extLst>
          </p:cNvPr>
          <p:cNvPicPr>
            <a:picLocks noChangeAspect="1"/>
          </p:cNvPicPr>
          <p:nvPr/>
        </p:nvPicPr>
        <p:blipFill>
          <a:blip r:embed="rId10"/>
          <a:stretch>
            <a:fillRect/>
          </a:stretch>
        </p:blipFill>
        <p:spPr>
          <a:xfrm>
            <a:off x="8621486" y="4549134"/>
            <a:ext cx="2068672" cy="1569924"/>
          </a:xfrm>
          <a:prstGeom prst="rect">
            <a:avLst/>
          </a:prstGeom>
        </p:spPr>
      </p:pic>
    </p:spTree>
    <p:extLst>
      <p:ext uri="{BB962C8B-B14F-4D97-AF65-F5344CB8AC3E}">
        <p14:creationId xmlns:p14="http://schemas.microsoft.com/office/powerpoint/2010/main" val="3202497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4400"/>
              <a:t>¿Qué </a:t>
            </a:r>
            <a:r>
              <a:rPr lang="en-US" sz="4400" err="1"/>
              <a:t>Aprenderé</a:t>
            </a:r>
            <a:r>
              <a:rPr lang="en-US" sz="4400"/>
              <a:t> Hoy?</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348231442"/>
              </p:ext>
            </p:extLst>
          </p:nvPr>
        </p:nvGraphicFramePr>
        <p:xfrm>
          <a:off x="1295400" y="1828800"/>
          <a:ext cx="9601200" cy="47740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60630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1249557156"/>
              </p:ext>
            </p:extLst>
          </p:nvPr>
        </p:nvGraphicFramePr>
        <p:xfrm>
          <a:off x="838199" y="1620456"/>
          <a:ext cx="10655461" cy="49036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normAutofit/>
          </a:bodyPr>
          <a:lstStyle/>
          <a:p>
            <a:r>
              <a:rPr lang="es-ES" sz="4400"/>
              <a:t>Clase de 2024 Próximos Pasos</a:t>
            </a:r>
            <a:endParaRPr lang="en-US" sz="4400">
              <a:latin typeface="+mj-lt"/>
            </a:endParaRPr>
          </a:p>
        </p:txBody>
      </p:sp>
    </p:spTree>
    <p:extLst>
      <p:ext uri="{BB962C8B-B14F-4D97-AF65-F5344CB8AC3E}">
        <p14:creationId xmlns:p14="http://schemas.microsoft.com/office/powerpoint/2010/main" val="1517140496"/>
      </p:ext>
    </p:extLst>
  </p:cSld>
  <p:clrMapOvr>
    <a:masterClrMapping/>
  </p:clrMapOvr>
  <mc:AlternateContent xmlns:mc="http://schemas.openxmlformats.org/markup-compatibility/2006">
    <mc:Choice xmlns:p14="http://schemas.microsoft.com/office/powerpoint/2010/main" Requires="p14">
      <p:transition p14:dur="100" advClick="0" advTm="10000">
        <p:fade/>
      </p:transition>
    </mc:Choice>
    <mc:Fallback>
      <p:transition advClick="0" advTm="10000">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E0086-0282-4BA8-8652-F6B97A342349}"/>
              </a:ext>
            </a:extLst>
          </p:cNvPr>
          <p:cNvSpPr>
            <a:spLocks noGrp="1"/>
          </p:cNvSpPr>
          <p:nvPr>
            <p:ph type="title"/>
          </p:nvPr>
        </p:nvSpPr>
        <p:spPr>
          <a:xfrm>
            <a:off x="1295399" y="255134"/>
            <a:ext cx="10695039" cy="1036850"/>
          </a:xfrm>
        </p:spPr>
        <p:txBody>
          <a:bodyPr>
            <a:noAutofit/>
          </a:bodyPr>
          <a:lstStyle/>
          <a:p>
            <a:r>
              <a:rPr lang="en-US" sz="4400" err="1">
                <a:solidFill>
                  <a:prstClr val="white"/>
                </a:solidFill>
                <a:latin typeface="Tw Cen MT Condensed Extra Bold" panose="020B0803020202020204" pitchFamily="34" charset="0"/>
              </a:rPr>
              <a:t>Recurso</a:t>
            </a:r>
            <a:r>
              <a:rPr lang="en-US" sz="4400">
                <a:solidFill>
                  <a:prstClr val="white"/>
                </a:solidFill>
                <a:latin typeface="Tw Cen MT Condensed Extra Bold" panose="020B0803020202020204" pitchFamily="34" charset="0"/>
              </a:rPr>
              <a:t>: www.wsac.wa.gov/actionplan </a:t>
            </a:r>
            <a:endParaRPr lang="en-US" sz="4400"/>
          </a:p>
        </p:txBody>
      </p:sp>
      <p:pic>
        <p:nvPicPr>
          <p:cNvPr id="5" name="Picture 4">
            <a:extLst>
              <a:ext uri="{FF2B5EF4-FFF2-40B4-BE49-F238E27FC236}">
                <a16:creationId xmlns:a16="http://schemas.microsoft.com/office/drawing/2014/main" id="{661FF939-B375-4267-A56D-6AAE126447BD}"/>
              </a:ext>
            </a:extLst>
          </p:cNvPr>
          <p:cNvPicPr>
            <a:picLocks noChangeAspect="1"/>
          </p:cNvPicPr>
          <p:nvPr/>
        </p:nvPicPr>
        <p:blipFill rotWithShape="1">
          <a:blip r:embed="rId3"/>
          <a:srcRect l="56202" t="11213" r="4288" b="39757"/>
          <a:stretch/>
        </p:blipFill>
        <p:spPr>
          <a:xfrm>
            <a:off x="8268929" y="2905432"/>
            <a:ext cx="3805084" cy="2227006"/>
          </a:xfrm>
          <a:prstGeom prst="rect">
            <a:avLst/>
          </a:prstGeom>
        </p:spPr>
      </p:pic>
      <p:graphicFrame>
        <p:nvGraphicFramePr>
          <p:cNvPr id="6" name="Diagram 5">
            <a:extLst>
              <a:ext uri="{FF2B5EF4-FFF2-40B4-BE49-F238E27FC236}">
                <a16:creationId xmlns:a16="http://schemas.microsoft.com/office/drawing/2014/main" id="{03280031-5853-47D2-82B1-1A0C592F316E}"/>
              </a:ext>
            </a:extLst>
          </p:cNvPr>
          <p:cNvGraphicFramePr/>
          <p:nvPr>
            <p:extLst>
              <p:ext uri="{D42A27DB-BD31-4B8C-83A1-F6EECF244321}">
                <p14:modId xmlns:p14="http://schemas.microsoft.com/office/powerpoint/2010/main" val="1639696480"/>
              </p:ext>
            </p:extLst>
          </p:nvPr>
        </p:nvGraphicFramePr>
        <p:xfrm>
          <a:off x="353962" y="1725562"/>
          <a:ext cx="7860890" cy="447176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2443720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2978" y="317168"/>
            <a:ext cx="10724383" cy="1036850"/>
          </a:xfrm>
        </p:spPr>
        <p:txBody>
          <a:bodyPr>
            <a:noAutofit/>
          </a:bodyPr>
          <a:lstStyle/>
          <a:p>
            <a:r>
              <a:rPr lang="es-ES" sz="4400"/>
              <a:t>Recurso: Recursos y Eventos de la Campaña del año 12º</a:t>
            </a:r>
            <a:endParaRPr lang="en-US" sz="4400"/>
          </a:p>
        </p:txBody>
      </p:sp>
      <p:sp>
        <p:nvSpPr>
          <p:cNvPr id="10" name="Rectangle 9">
            <a:extLst>
              <a:ext uri="{FF2B5EF4-FFF2-40B4-BE49-F238E27FC236}">
                <a16:creationId xmlns:a16="http://schemas.microsoft.com/office/drawing/2014/main" id="{64DC5BF6-A52A-4D28-A854-D65B143B093B}"/>
              </a:ext>
            </a:extLst>
          </p:cNvPr>
          <p:cNvSpPr/>
          <p:nvPr/>
        </p:nvSpPr>
        <p:spPr>
          <a:xfrm>
            <a:off x="3955900" y="6338637"/>
            <a:ext cx="4280199" cy="461665"/>
          </a:xfrm>
          <a:prstGeom prst="rect">
            <a:avLst/>
          </a:prstGeom>
        </p:spPr>
        <p:txBody>
          <a:bodyPr wrap="square">
            <a:spAutoFit/>
          </a:bodyPr>
          <a:lstStyle/>
          <a:p>
            <a:r>
              <a:rPr lang="en-US" sz="2400">
                <a:latin typeface="+mj-lt"/>
              </a:rPr>
              <a:t>https://wsac.wa.gov/actionplan</a:t>
            </a:r>
          </a:p>
        </p:txBody>
      </p:sp>
      <p:graphicFrame>
        <p:nvGraphicFramePr>
          <p:cNvPr id="6" name="Content Placeholder 3">
            <a:extLst>
              <a:ext uri="{FF2B5EF4-FFF2-40B4-BE49-F238E27FC236}">
                <a16:creationId xmlns:a16="http://schemas.microsoft.com/office/drawing/2014/main" id="{943687DF-2531-4079-98DB-486164D1DCE5}"/>
              </a:ext>
            </a:extLst>
          </p:cNvPr>
          <p:cNvGraphicFramePr>
            <a:graphicFrameLocks noGrp="1"/>
          </p:cNvGraphicFramePr>
          <p:nvPr>
            <p:ph idx="1"/>
            <p:extLst>
              <p:ext uri="{D42A27DB-BD31-4B8C-83A1-F6EECF244321}">
                <p14:modId xmlns:p14="http://schemas.microsoft.com/office/powerpoint/2010/main" val="568865346"/>
              </p:ext>
            </p:extLst>
          </p:nvPr>
        </p:nvGraphicFramePr>
        <p:xfrm>
          <a:off x="312821" y="1754188"/>
          <a:ext cx="7170821" cy="44180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a:extLst>
              <a:ext uri="{FF2B5EF4-FFF2-40B4-BE49-F238E27FC236}">
                <a16:creationId xmlns:a16="http://schemas.microsoft.com/office/drawing/2014/main" id="{3944E1C1-ABBE-D62B-3F4C-47FD78DACD54}"/>
              </a:ext>
            </a:extLst>
          </p:cNvPr>
          <p:cNvPicPr>
            <a:picLocks noChangeAspect="1"/>
          </p:cNvPicPr>
          <p:nvPr/>
        </p:nvPicPr>
        <p:blipFill>
          <a:blip r:embed="rId8"/>
          <a:stretch>
            <a:fillRect/>
          </a:stretch>
        </p:blipFill>
        <p:spPr>
          <a:xfrm>
            <a:off x="8130707" y="1757236"/>
            <a:ext cx="3630209" cy="4724400"/>
          </a:xfrm>
          <a:prstGeom prst="rect">
            <a:avLst/>
          </a:prstGeom>
        </p:spPr>
      </p:pic>
    </p:spTree>
    <p:extLst>
      <p:ext uri="{BB962C8B-B14F-4D97-AF65-F5344CB8AC3E}">
        <p14:creationId xmlns:p14="http://schemas.microsoft.com/office/powerpoint/2010/main" val="767896883"/>
      </p:ext>
    </p:extLst>
  </p:cSld>
  <p:clrMapOvr>
    <a:masterClrMapping/>
  </p:clrMapOvr>
  <mc:AlternateContent xmlns:mc="http://schemas.openxmlformats.org/markup-compatibility/2006">
    <mc:Choice xmlns:p14="http://schemas.microsoft.com/office/powerpoint/2010/main" Requires="p14">
      <p:transition p14:dur="100" advClick="0" advTm="10000">
        <p:fade/>
      </p:transition>
    </mc:Choice>
    <mc:Fallback>
      <p:transition advClick="0" advTm="10000">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15122" y="255134"/>
            <a:ext cx="10946890" cy="1036850"/>
          </a:xfrm>
        </p:spPr>
        <p:txBody>
          <a:bodyPr>
            <a:noAutofit/>
          </a:bodyPr>
          <a:lstStyle/>
          <a:p>
            <a:r>
              <a:rPr lang="es-ES" sz="4400"/>
              <a:t>Recurso: Folleto de Ayuda Financiera Para Estudiantes</a:t>
            </a:r>
            <a:endParaRPr lang="en-US" sz="4400"/>
          </a:p>
        </p:txBody>
      </p:sp>
      <p:sp>
        <p:nvSpPr>
          <p:cNvPr id="12" name="TextBox 11">
            <a:extLst>
              <a:ext uri="{FF2B5EF4-FFF2-40B4-BE49-F238E27FC236}">
                <a16:creationId xmlns:a16="http://schemas.microsoft.com/office/drawing/2014/main" id="{87761542-3469-4871-A8E3-C82C017B81AC}"/>
              </a:ext>
            </a:extLst>
          </p:cNvPr>
          <p:cNvSpPr txBox="1"/>
          <p:nvPr/>
        </p:nvSpPr>
        <p:spPr>
          <a:xfrm>
            <a:off x="963930" y="5986648"/>
            <a:ext cx="10264140" cy="646331"/>
          </a:xfrm>
          <a:prstGeom prst="rect">
            <a:avLst/>
          </a:prstGeom>
          <a:noFill/>
        </p:spPr>
        <p:txBody>
          <a:bodyPr wrap="square">
            <a:spAutoFit/>
          </a:bodyPr>
          <a:lstStyle/>
          <a:p>
            <a:pPr algn="ctr"/>
            <a:r>
              <a:rPr lang="en-US" sz="3600">
                <a:latin typeface="+mj-lt"/>
              </a:rPr>
              <a:t>https://padlet.com/christinaw12/t6jfitu7m8in10xc</a:t>
            </a:r>
          </a:p>
        </p:txBody>
      </p:sp>
      <p:pic>
        <p:nvPicPr>
          <p:cNvPr id="5" name="Picture 4">
            <a:extLst>
              <a:ext uri="{FF2B5EF4-FFF2-40B4-BE49-F238E27FC236}">
                <a16:creationId xmlns:a16="http://schemas.microsoft.com/office/drawing/2014/main" id="{7E13321E-31AD-4C38-9D55-2625A820C0F0}"/>
              </a:ext>
            </a:extLst>
          </p:cNvPr>
          <p:cNvPicPr>
            <a:picLocks noChangeAspect="1"/>
          </p:cNvPicPr>
          <p:nvPr/>
        </p:nvPicPr>
        <p:blipFill rotWithShape="1">
          <a:blip r:embed="rId3"/>
          <a:srcRect r="42260"/>
          <a:stretch/>
        </p:blipFill>
        <p:spPr>
          <a:xfrm>
            <a:off x="724087" y="1613595"/>
            <a:ext cx="5926549" cy="4373053"/>
          </a:xfrm>
          <a:prstGeom prst="rect">
            <a:avLst/>
          </a:prstGeom>
        </p:spPr>
      </p:pic>
      <p:pic>
        <p:nvPicPr>
          <p:cNvPr id="4" name="Picture 3">
            <a:extLst>
              <a:ext uri="{FF2B5EF4-FFF2-40B4-BE49-F238E27FC236}">
                <a16:creationId xmlns:a16="http://schemas.microsoft.com/office/drawing/2014/main" id="{079D331C-692F-4FFE-B366-FB868ACD2DA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3416" y="1954599"/>
            <a:ext cx="3724497" cy="3691043"/>
          </a:xfrm>
          <a:prstGeom prst="rect">
            <a:avLst/>
          </a:prstGeom>
        </p:spPr>
      </p:pic>
    </p:spTree>
    <p:extLst>
      <p:ext uri="{BB962C8B-B14F-4D97-AF65-F5344CB8AC3E}">
        <p14:creationId xmlns:p14="http://schemas.microsoft.com/office/powerpoint/2010/main" val="29213712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71BBC-DCFC-4CF2-802B-E394F3506A4A}"/>
              </a:ext>
            </a:extLst>
          </p:cNvPr>
          <p:cNvSpPr>
            <a:spLocks noGrp="1"/>
          </p:cNvSpPr>
          <p:nvPr>
            <p:ph type="title"/>
          </p:nvPr>
        </p:nvSpPr>
        <p:spPr>
          <a:xfrm>
            <a:off x="1111742" y="251624"/>
            <a:ext cx="10875818" cy="1036850"/>
          </a:xfrm>
        </p:spPr>
        <p:txBody>
          <a:bodyPr>
            <a:noAutofit/>
          </a:bodyPr>
          <a:lstStyle/>
          <a:p>
            <a:r>
              <a:rPr lang="es-ES" sz="4400"/>
              <a:t>Videos de Ayuda Financiera de Washington Para la Educación y Capacitación</a:t>
            </a:r>
            <a:endParaRPr lang="en-US" sz="4400"/>
          </a:p>
        </p:txBody>
      </p:sp>
      <p:sp>
        <p:nvSpPr>
          <p:cNvPr id="5" name="Content Placeholder 4">
            <a:extLst>
              <a:ext uri="{FF2B5EF4-FFF2-40B4-BE49-F238E27FC236}">
                <a16:creationId xmlns:a16="http://schemas.microsoft.com/office/drawing/2014/main" id="{1D181919-2B08-46F3-B2EE-00A94AFFD34E}"/>
              </a:ext>
            </a:extLst>
          </p:cNvPr>
          <p:cNvSpPr>
            <a:spLocks noGrp="1"/>
          </p:cNvSpPr>
          <p:nvPr>
            <p:ph idx="1"/>
          </p:nvPr>
        </p:nvSpPr>
        <p:spPr>
          <a:xfrm>
            <a:off x="304800" y="1747053"/>
            <a:ext cx="4267200" cy="5109945"/>
          </a:xfrm>
        </p:spPr>
        <p:txBody>
          <a:bodyPr>
            <a:normAutofit fontScale="92500" lnSpcReduction="20000"/>
          </a:bodyPr>
          <a:lstStyle/>
          <a:p>
            <a:pPr marL="0" indent="0">
              <a:buNone/>
            </a:pPr>
            <a:r>
              <a:rPr lang="es-ES" sz="3000">
                <a:latin typeface="+mj-lt"/>
              </a:rPr>
              <a:t>Videos informativos sobre la educación después de la escuela preparatoria en los siguientes idiomas:</a:t>
            </a:r>
          </a:p>
          <a:p>
            <a:pPr marL="0" indent="0">
              <a:buNone/>
            </a:pPr>
            <a:r>
              <a:rPr lang="es-ES" sz="3000">
                <a:latin typeface="+mj-lt"/>
              </a:rPr>
              <a:t>•Inglés</a:t>
            </a:r>
          </a:p>
          <a:p>
            <a:pPr marL="0" indent="0">
              <a:buNone/>
            </a:pPr>
            <a:r>
              <a:rPr lang="es-ES" sz="3000">
                <a:latin typeface="+mj-lt"/>
              </a:rPr>
              <a:t>•Mandarín</a:t>
            </a:r>
          </a:p>
          <a:p>
            <a:pPr marL="0" indent="0">
              <a:buNone/>
            </a:pPr>
            <a:r>
              <a:rPr lang="es-ES" sz="3000">
                <a:latin typeface="+mj-lt"/>
              </a:rPr>
              <a:t>•Ruso</a:t>
            </a:r>
          </a:p>
          <a:p>
            <a:pPr marL="0" indent="0">
              <a:buNone/>
            </a:pPr>
            <a:r>
              <a:rPr lang="es-ES" sz="3000">
                <a:latin typeface="+mj-lt"/>
              </a:rPr>
              <a:t>•Somalí</a:t>
            </a:r>
          </a:p>
          <a:p>
            <a:pPr marL="0" indent="0">
              <a:buNone/>
            </a:pPr>
            <a:r>
              <a:rPr lang="es-ES" sz="3000">
                <a:latin typeface="+mj-lt"/>
              </a:rPr>
              <a:t>•Español</a:t>
            </a:r>
          </a:p>
          <a:p>
            <a:pPr marL="0" indent="0">
              <a:buNone/>
            </a:pPr>
            <a:r>
              <a:rPr lang="es-ES" sz="3000">
                <a:latin typeface="+mj-lt"/>
              </a:rPr>
              <a:t>•Tagalo</a:t>
            </a:r>
          </a:p>
          <a:p>
            <a:pPr marL="0" indent="0">
              <a:buNone/>
            </a:pPr>
            <a:r>
              <a:rPr lang="es-ES" sz="3000">
                <a:latin typeface="+mj-lt"/>
              </a:rPr>
              <a:t>•Vietnamita</a:t>
            </a:r>
            <a:endParaRPr lang="en-US"/>
          </a:p>
        </p:txBody>
      </p:sp>
      <p:pic>
        <p:nvPicPr>
          <p:cNvPr id="6" name="Picture 5">
            <a:extLst>
              <a:ext uri="{FF2B5EF4-FFF2-40B4-BE49-F238E27FC236}">
                <a16:creationId xmlns:a16="http://schemas.microsoft.com/office/drawing/2014/main" id="{C1AD567A-5C79-4842-8128-8AD57C1D527F}"/>
              </a:ext>
            </a:extLst>
          </p:cNvPr>
          <p:cNvPicPr>
            <a:picLocks noChangeAspect="1"/>
          </p:cNvPicPr>
          <p:nvPr/>
        </p:nvPicPr>
        <p:blipFill>
          <a:blip r:embed="rId3"/>
          <a:stretch>
            <a:fillRect/>
          </a:stretch>
        </p:blipFill>
        <p:spPr>
          <a:xfrm>
            <a:off x="4701428" y="1747053"/>
            <a:ext cx="7185772" cy="3822473"/>
          </a:xfrm>
          <a:prstGeom prst="rect">
            <a:avLst/>
          </a:prstGeom>
        </p:spPr>
      </p:pic>
      <p:pic>
        <p:nvPicPr>
          <p:cNvPr id="12" name="Picture 11">
            <a:extLst>
              <a:ext uri="{FF2B5EF4-FFF2-40B4-BE49-F238E27FC236}">
                <a16:creationId xmlns:a16="http://schemas.microsoft.com/office/drawing/2014/main" id="{27E17EDC-D394-442F-A25C-9E1512C825B6}"/>
              </a:ext>
            </a:extLst>
          </p:cNvPr>
          <p:cNvPicPr>
            <a:picLocks noChangeAspect="1"/>
          </p:cNvPicPr>
          <p:nvPr/>
        </p:nvPicPr>
        <p:blipFill>
          <a:blip r:embed="rId4"/>
          <a:stretch>
            <a:fillRect/>
          </a:stretch>
        </p:blipFill>
        <p:spPr>
          <a:xfrm>
            <a:off x="2590800" y="5784749"/>
            <a:ext cx="9296400" cy="897584"/>
          </a:xfrm>
          <a:prstGeom prst="rect">
            <a:avLst/>
          </a:prstGeom>
        </p:spPr>
      </p:pic>
    </p:spTree>
    <p:extLst>
      <p:ext uri="{BB962C8B-B14F-4D97-AF65-F5344CB8AC3E}">
        <p14:creationId xmlns:p14="http://schemas.microsoft.com/office/powerpoint/2010/main" val="28424577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7BF0E-B26E-4AD2-BFF8-4F8C4D41A36B}"/>
              </a:ext>
            </a:extLst>
          </p:cNvPr>
          <p:cNvSpPr>
            <a:spLocks noGrp="1"/>
          </p:cNvSpPr>
          <p:nvPr>
            <p:ph type="title"/>
          </p:nvPr>
        </p:nvSpPr>
        <p:spPr/>
        <p:txBody>
          <a:bodyPr>
            <a:normAutofit/>
          </a:bodyPr>
          <a:lstStyle/>
          <a:p>
            <a:r>
              <a:rPr lang="en-US" sz="4400"/>
              <a:t>¡Estamos Aquí Para </a:t>
            </a:r>
            <a:r>
              <a:rPr lang="en-US" sz="4400" err="1"/>
              <a:t>Ayudar</a:t>
            </a:r>
            <a:r>
              <a:rPr lang="en-US" sz="4400"/>
              <a:t>!</a:t>
            </a:r>
          </a:p>
        </p:txBody>
      </p:sp>
      <p:graphicFrame>
        <p:nvGraphicFramePr>
          <p:cNvPr id="4" name="Content Placeholder 4">
            <a:extLst>
              <a:ext uri="{FF2B5EF4-FFF2-40B4-BE49-F238E27FC236}">
                <a16:creationId xmlns:a16="http://schemas.microsoft.com/office/drawing/2014/main" id="{4949E879-7743-40DC-BA7E-FB593E62A5DD}"/>
              </a:ext>
            </a:extLst>
          </p:cNvPr>
          <p:cNvGraphicFramePr>
            <a:graphicFrameLocks noGrp="1"/>
          </p:cNvGraphicFramePr>
          <p:nvPr>
            <p:ph idx="1"/>
            <p:extLst>
              <p:ext uri="{D42A27DB-BD31-4B8C-83A1-F6EECF244321}">
                <p14:modId xmlns:p14="http://schemas.microsoft.com/office/powerpoint/2010/main" val="917906574"/>
              </p:ext>
            </p:extLst>
          </p:nvPr>
        </p:nvGraphicFramePr>
        <p:xfrm>
          <a:off x="2843212" y="1847850"/>
          <a:ext cx="6505575" cy="47550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060080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106EE-5BD0-4ADE-9483-751CA1604738}"/>
              </a:ext>
            </a:extLst>
          </p:cNvPr>
          <p:cNvSpPr>
            <a:spLocks noGrp="1"/>
          </p:cNvSpPr>
          <p:nvPr>
            <p:ph type="title"/>
          </p:nvPr>
        </p:nvSpPr>
        <p:spPr/>
        <p:txBody>
          <a:bodyPr>
            <a:normAutofit/>
          </a:bodyPr>
          <a:lstStyle/>
          <a:p>
            <a:r>
              <a:rPr lang="en-US" sz="4400"/>
              <a:t>¿Preguntas? </a:t>
            </a:r>
          </a:p>
        </p:txBody>
      </p:sp>
      <p:pic>
        <p:nvPicPr>
          <p:cNvPr id="2050" name="Picture 2" descr="Two Simple Questions – The Leg Up">
            <a:extLst>
              <a:ext uri="{FF2B5EF4-FFF2-40B4-BE49-F238E27FC236}">
                <a16:creationId xmlns:a16="http://schemas.microsoft.com/office/drawing/2014/main" id="{B2AEB441-0C2D-44AB-AC00-56DCF7B8BF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0075" y="2130299"/>
            <a:ext cx="3371850" cy="2724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50442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4213A-9A14-4DF7-80B7-8687AC688712}"/>
              </a:ext>
            </a:extLst>
          </p:cNvPr>
          <p:cNvSpPr>
            <a:spLocks noGrp="1"/>
          </p:cNvSpPr>
          <p:nvPr>
            <p:ph type="title"/>
          </p:nvPr>
        </p:nvSpPr>
        <p:spPr/>
        <p:txBody>
          <a:bodyPr>
            <a:normAutofit/>
          </a:bodyPr>
          <a:lstStyle/>
          <a:p>
            <a:r>
              <a:rPr lang="en-US" sz="4400"/>
              <a:t>¿Qué es la </a:t>
            </a:r>
            <a:r>
              <a:rPr lang="en-US" sz="4400" err="1"/>
              <a:t>Ayuda</a:t>
            </a:r>
            <a:r>
              <a:rPr lang="en-US" sz="4400"/>
              <a:t> </a:t>
            </a:r>
            <a:r>
              <a:rPr lang="en-US" sz="4400" err="1"/>
              <a:t>Financiera</a:t>
            </a:r>
            <a:r>
              <a:rPr lang="en-US" sz="4400"/>
              <a:t>?</a:t>
            </a:r>
          </a:p>
        </p:txBody>
      </p:sp>
      <p:sp>
        <p:nvSpPr>
          <p:cNvPr id="3" name="Content Placeholder 2">
            <a:extLst>
              <a:ext uri="{FF2B5EF4-FFF2-40B4-BE49-F238E27FC236}">
                <a16:creationId xmlns:a16="http://schemas.microsoft.com/office/drawing/2014/main" id="{E3F3C8B3-DD63-49AC-8360-6F760D59E870}"/>
              </a:ext>
            </a:extLst>
          </p:cNvPr>
          <p:cNvSpPr>
            <a:spLocks noGrp="1"/>
          </p:cNvSpPr>
          <p:nvPr>
            <p:ph idx="1"/>
          </p:nvPr>
        </p:nvSpPr>
        <p:spPr>
          <a:xfrm>
            <a:off x="2744344" y="2265483"/>
            <a:ext cx="6703311" cy="3787487"/>
          </a:xfrm>
          <a:solidFill>
            <a:schemeClr val="accent2"/>
          </a:solidFill>
          <a:ln w="57150">
            <a:solidFill>
              <a:schemeClr val="accent2"/>
            </a:solidFill>
          </a:ln>
        </p:spPr>
        <p:style>
          <a:lnRef idx="2">
            <a:schemeClr val="accent1"/>
          </a:lnRef>
          <a:fillRef idx="1">
            <a:schemeClr val="lt1"/>
          </a:fillRef>
          <a:effectRef idx="0">
            <a:schemeClr val="accent1"/>
          </a:effectRef>
          <a:fontRef idx="minor">
            <a:schemeClr val="dk1"/>
          </a:fontRef>
        </p:style>
        <p:txBody>
          <a:bodyPr>
            <a:normAutofit/>
          </a:bodyPr>
          <a:lstStyle/>
          <a:p>
            <a:pPr marL="0" indent="0" algn="ctr">
              <a:buNone/>
            </a:pPr>
            <a:r>
              <a:rPr lang="es-ES" sz="3200">
                <a:solidFill>
                  <a:schemeClr val="bg1"/>
                </a:solidFill>
                <a:latin typeface="+mj-lt"/>
              </a:rPr>
              <a:t>La ayuda financiera es apoyo económico para ayudar a pagar la educación después de la escuela preparatoria. Las subvenciones, el programa de trabajo y estudio, los préstamos y las becas ayudan a que la educación después de la escuela preparatoria sea asequible.</a:t>
            </a:r>
          </a:p>
        </p:txBody>
      </p:sp>
    </p:spTree>
    <p:extLst>
      <p:ext uri="{BB962C8B-B14F-4D97-AF65-F5344CB8AC3E}">
        <p14:creationId xmlns:p14="http://schemas.microsoft.com/office/powerpoint/2010/main" val="18324471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Lst>
          </a:blip>
          <a:srcRect l="2351" t="4925" r="2942" b="1950"/>
          <a:stretch/>
        </p:blipFill>
        <p:spPr>
          <a:xfrm rot="20396911" flipH="1">
            <a:off x="269882" y="1812603"/>
            <a:ext cx="2147752" cy="1953979"/>
          </a:xfrm>
          <a:prstGeom prst="rect">
            <a:avLst/>
          </a:prstGeom>
        </p:spPr>
      </p:pic>
      <p:sp>
        <p:nvSpPr>
          <p:cNvPr id="2" name="Title 1"/>
          <p:cNvSpPr>
            <a:spLocks noGrp="1"/>
          </p:cNvSpPr>
          <p:nvPr>
            <p:ph type="title"/>
          </p:nvPr>
        </p:nvSpPr>
        <p:spPr>
          <a:xfrm>
            <a:off x="1295400" y="255134"/>
            <a:ext cx="9479692" cy="1036850"/>
          </a:xfrm>
        </p:spPr>
        <p:txBody>
          <a:bodyPr anchor="b">
            <a:noAutofit/>
          </a:bodyPr>
          <a:lstStyle/>
          <a:p>
            <a:br>
              <a:rPr lang="en-US" sz="4800"/>
            </a:br>
            <a:r>
              <a:rPr lang="es-ES" sz="4400"/>
              <a:t>La Ayuda Financiera es como un Paraguas</a:t>
            </a:r>
            <a:endParaRPr lang="en-US" sz="4800"/>
          </a:p>
        </p:txBody>
      </p:sp>
      <p:graphicFrame>
        <p:nvGraphicFramePr>
          <p:cNvPr id="4" name="Diagram 3"/>
          <p:cNvGraphicFramePr/>
          <p:nvPr>
            <p:extLst>
              <p:ext uri="{D42A27DB-BD31-4B8C-83A1-F6EECF244321}">
                <p14:modId xmlns:p14="http://schemas.microsoft.com/office/powerpoint/2010/main" val="4241743203"/>
              </p:ext>
            </p:extLst>
          </p:nvPr>
        </p:nvGraphicFramePr>
        <p:xfrm>
          <a:off x="1465728" y="2618825"/>
          <a:ext cx="10295965" cy="360829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0992033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E07A1-1074-452E-AE6C-05F95B3172ED}"/>
              </a:ext>
            </a:extLst>
          </p:cNvPr>
          <p:cNvSpPr>
            <a:spLocks noGrp="1"/>
          </p:cNvSpPr>
          <p:nvPr>
            <p:ph type="title"/>
          </p:nvPr>
        </p:nvSpPr>
        <p:spPr/>
        <p:txBody>
          <a:bodyPr>
            <a:normAutofit/>
          </a:bodyPr>
          <a:lstStyle/>
          <a:p>
            <a:r>
              <a:rPr lang="en-US" sz="4400" err="1"/>
              <a:t>Subvención</a:t>
            </a:r>
            <a:r>
              <a:rPr lang="en-US" sz="4400"/>
              <a:t>/Beca/Grants</a:t>
            </a:r>
            <a:endParaRPr lang="en-US" sz="3200"/>
          </a:p>
        </p:txBody>
      </p:sp>
      <p:graphicFrame>
        <p:nvGraphicFramePr>
          <p:cNvPr id="4" name="Content Placeholder 3">
            <a:extLst>
              <a:ext uri="{FF2B5EF4-FFF2-40B4-BE49-F238E27FC236}">
                <a16:creationId xmlns:a16="http://schemas.microsoft.com/office/drawing/2014/main" id="{B7F2EBC0-DCF5-42BD-86C2-7D7DA46CC480}"/>
              </a:ext>
            </a:extLst>
          </p:cNvPr>
          <p:cNvGraphicFramePr>
            <a:graphicFrameLocks noGrp="1"/>
          </p:cNvGraphicFramePr>
          <p:nvPr>
            <p:ph idx="1"/>
            <p:extLst>
              <p:ext uri="{D42A27DB-BD31-4B8C-83A1-F6EECF244321}">
                <p14:modId xmlns:p14="http://schemas.microsoft.com/office/powerpoint/2010/main" val="4110997375"/>
              </p:ext>
            </p:extLst>
          </p:nvPr>
        </p:nvGraphicFramePr>
        <p:xfrm>
          <a:off x="1295400" y="1828800"/>
          <a:ext cx="9601200" cy="434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70452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6760" y="255134"/>
            <a:ext cx="9601200" cy="1036850"/>
          </a:xfrm>
        </p:spPr>
        <p:txBody>
          <a:bodyPr>
            <a:normAutofit/>
          </a:bodyPr>
          <a:lstStyle/>
          <a:p>
            <a:r>
              <a:rPr lang="en-US" sz="4400"/>
              <a:t>Washington College Grant (WA Grant)</a:t>
            </a:r>
          </a:p>
        </p:txBody>
      </p:sp>
      <p:sp>
        <p:nvSpPr>
          <p:cNvPr id="3" name="Content Placeholder 2"/>
          <p:cNvSpPr>
            <a:spLocks noGrp="1"/>
          </p:cNvSpPr>
          <p:nvPr>
            <p:ph idx="1"/>
          </p:nvPr>
        </p:nvSpPr>
        <p:spPr>
          <a:xfrm>
            <a:off x="282873" y="2079812"/>
            <a:ext cx="3757606" cy="4104232"/>
          </a:xfrm>
        </p:spPr>
        <p:txBody>
          <a:bodyPr>
            <a:noAutofit/>
          </a:bodyPr>
          <a:lstStyle/>
          <a:p>
            <a:pPr marL="0" indent="0" algn="ctr">
              <a:lnSpc>
                <a:spcPct val="100000"/>
              </a:lnSpc>
              <a:spcBef>
                <a:spcPts val="1200"/>
              </a:spcBef>
              <a:spcAft>
                <a:spcPts val="600"/>
              </a:spcAft>
              <a:buNone/>
            </a:pPr>
            <a:r>
              <a:rPr lang="en-US" sz="2800">
                <a:latin typeface="+mj-lt"/>
              </a:rPr>
              <a:t>El Estado de Washington a </a:t>
            </a:r>
            <a:r>
              <a:rPr lang="en-US" sz="2800" err="1">
                <a:latin typeface="+mj-lt"/>
              </a:rPr>
              <a:t>hecho</a:t>
            </a:r>
            <a:r>
              <a:rPr lang="en-US" sz="2800">
                <a:latin typeface="+mj-lt"/>
              </a:rPr>
              <a:t> un </a:t>
            </a:r>
            <a:r>
              <a:rPr lang="en-US" sz="2800" err="1">
                <a:latin typeface="+mj-lt"/>
              </a:rPr>
              <a:t>compromiso</a:t>
            </a:r>
            <a:r>
              <a:rPr lang="en-US" sz="2800">
                <a:latin typeface="+mj-lt"/>
              </a:rPr>
              <a:t> </a:t>
            </a:r>
            <a:r>
              <a:rPr lang="en-US" sz="2800" err="1">
                <a:latin typeface="+mj-lt"/>
              </a:rPr>
              <a:t>innovador</a:t>
            </a:r>
            <a:r>
              <a:rPr lang="en-US" sz="2800">
                <a:latin typeface="+mj-lt"/>
              </a:rPr>
              <a:t> a la </a:t>
            </a:r>
            <a:r>
              <a:rPr lang="en-US" sz="2800" err="1">
                <a:latin typeface="+mj-lt"/>
              </a:rPr>
              <a:t>ayuda</a:t>
            </a:r>
            <a:r>
              <a:rPr lang="en-US" sz="2800">
                <a:latin typeface="+mj-lt"/>
              </a:rPr>
              <a:t> </a:t>
            </a:r>
            <a:r>
              <a:rPr lang="en-US" sz="2800" err="1">
                <a:latin typeface="+mj-lt"/>
              </a:rPr>
              <a:t>financiera</a:t>
            </a:r>
            <a:r>
              <a:rPr lang="en-US" sz="2800">
                <a:latin typeface="+mj-lt"/>
              </a:rPr>
              <a:t> para las personas de </a:t>
            </a:r>
            <a:r>
              <a:rPr lang="en-US" sz="2800" err="1">
                <a:latin typeface="+mj-lt"/>
              </a:rPr>
              <a:t>bajos</a:t>
            </a:r>
            <a:r>
              <a:rPr lang="en-US" sz="2800">
                <a:latin typeface="+mj-lt"/>
              </a:rPr>
              <a:t> y </a:t>
            </a:r>
            <a:r>
              <a:rPr lang="en-US" sz="2800" err="1">
                <a:latin typeface="+mj-lt"/>
              </a:rPr>
              <a:t>medianos</a:t>
            </a:r>
            <a:r>
              <a:rPr lang="en-US" sz="2800">
                <a:latin typeface="+mj-lt"/>
              </a:rPr>
              <a:t> </a:t>
            </a:r>
            <a:r>
              <a:rPr lang="en-US" sz="2800" err="1">
                <a:latin typeface="+mj-lt"/>
              </a:rPr>
              <a:t>ingresos</a:t>
            </a:r>
            <a:r>
              <a:rPr lang="en-US" sz="2800">
                <a:latin typeface="+mj-lt"/>
              </a:rPr>
              <a:t> de </a:t>
            </a:r>
            <a:r>
              <a:rPr lang="en-US" sz="2800" err="1">
                <a:latin typeface="+mj-lt"/>
              </a:rPr>
              <a:t>todas</a:t>
            </a:r>
            <a:r>
              <a:rPr lang="en-US" sz="2800">
                <a:latin typeface="+mj-lt"/>
              </a:rPr>
              <a:t> </a:t>
            </a:r>
            <a:r>
              <a:rPr lang="en-US" sz="2800" err="1">
                <a:latin typeface="+mj-lt"/>
              </a:rPr>
              <a:t>edades</a:t>
            </a:r>
            <a:r>
              <a:rPr lang="en-US" sz="2800">
                <a:latin typeface="+mj-lt"/>
              </a:rPr>
              <a:t> con </a:t>
            </a:r>
            <a:r>
              <a:rPr lang="en-US" sz="2800" err="1">
                <a:latin typeface="+mj-lt"/>
              </a:rPr>
              <a:t>el</a:t>
            </a:r>
            <a:r>
              <a:rPr lang="en-US" sz="2800">
                <a:latin typeface="+mj-lt"/>
              </a:rPr>
              <a:t> nuevo Washington College Grant. </a:t>
            </a:r>
          </a:p>
        </p:txBody>
      </p:sp>
      <p:pic>
        <p:nvPicPr>
          <p:cNvPr id="8" name="Picture 7">
            <a:extLst>
              <a:ext uri="{FF2B5EF4-FFF2-40B4-BE49-F238E27FC236}">
                <a16:creationId xmlns:a16="http://schemas.microsoft.com/office/drawing/2014/main" id="{DFB8F17A-CF7F-CF19-47B4-6EBA8AA24B81}"/>
              </a:ext>
            </a:extLst>
          </p:cNvPr>
          <p:cNvPicPr>
            <a:picLocks noChangeAspect="1"/>
          </p:cNvPicPr>
          <p:nvPr/>
        </p:nvPicPr>
        <p:blipFill>
          <a:blip r:embed="rId3"/>
          <a:stretch>
            <a:fillRect/>
          </a:stretch>
        </p:blipFill>
        <p:spPr>
          <a:xfrm>
            <a:off x="4123777" y="2594103"/>
            <a:ext cx="7928785" cy="2580374"/>
          </a:xfrm>
          <a:prstGeom prst="rect">
            <a:avLst/>
          </a:prstGeom>
        </p:spPr>
      </p:pic>
      <p:sp>
        <p:nvSpPr>
          <p:cNvPr id="10" name="TextBox 9">
            <a:extLst>
              <a:ext uri="{FF2B5EF4-FFF2-40B4-BE49-F238E27FC236}">
                <a16:creationId xmlns:a16="http://schemas.microsoft.com/office/drawing/2014/main" id="{B39EDF5D-8607-CB10-BBE9-2D083EA944BA}"/>
              </a:ext>
            </a:extLst>
          </p:cNvPr>
          <p:cNvSpPr txBox="1"/>
          <p:nvPr/>
        </p:nvSpPr>
        <p:spPr>
          <a:xfrm>
            <a:off x="8807338" y="5246343"/>
            <a:ext cx="3182471" cy="400110"/>
          </a:xfrm>
          <a:prstGeom prst="rect">
            <a:avLst/>
          </a:prstGeom>
          <a:noFill/>
        </p:spPr>
        <p:txBody>
          <a:bodyPr wrap="square">
            <a:spAutoFit/>
          </a:bodyPr>
          <a:lstStyle/>
          <a:p>
            <a:r>
              <a:rPr lang="en-US" sz="2000">
                <a:latin typeface="+mj-lt"/>
              </a:rPr>
              <a:t>https://wsac.wa.gov/wcg-es</a:t>
            </a:r>
          </a:p>
        </p:txBody>
      </p:sp>
    </p:spTree>
    <p:extLst>
      <p:ext uri="{BB962C8B-B14F-4D97-AF65-F5344CB8AC3E}">
        <p14:creationId xmlns:p14="http://schemas.microsoft.com/office/powerpoint/2010/main" val="19036909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96E9FDA-CAE1-4C95-A7C9-493BA36C7CE2}"/>
              </a:ext>
              <a:ext uri="{C183D7F6-B498-43B3-948B-1728B52AA6E4}">
                <adec:decorative xmlns:adec="http://schemas.microsoft.com/office/drawing/2017/decorative" val="1"/>
              </a:ext>
            </a:extLst>
          </p:cNvPr>
          <p:cNvSpPr/>
          <p:nvPr/>
        </p:nvSpPr>
        <p:spPr>
          <a:xfrm>
            <a:off x="1047963" y="1688583"/>
            <a:ext cx="10096074" cy="955497"/>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D111268-4702-4C64-BCE2-E2046022A831}"/>
              </a:ext>
            </a:extLst>
          </p:cNvPr>
          <p:cNvSpPr>
            <a:spLocks noGrp="1"/>
          </p:cNvSpPr>
          <p:nvPr>
            <p:ph type="title"/>
          </p:nvPr>
        </p:nvSpPr>
        <p:spPr>
          <a:xfrm>
            <a:off x="1295400" y="255134"/>
            <a:ext cx="9848637" cy="1036850"/>
          </a:xfrm>
        </p:spPr>
        <p:txBody>
          <a:bodyPr>
            <a:noAutofit/>
          </a:bodyPr>
          <a:lstStyle/>
          <a:p>
            <a:r>
              <a:rPr lang="en-US" sz="4400">
                <a:latin typeface="Tw Cen MT Condensed Extra Bold" panose="020B0803020202020204" pitchFamily="34" charset="0"/>
              </a:rPr>
              <a:t>Washington College Grant </a:t>
            </a:r>
            <a:r>
              <a:rPr lang="en-US" sz="4400" err="1">
                <a:latin typeface="Tw Cen MT Condensed Extra Bold" panose="020B0803020202020204" pitchFamily="34" charset="0"/>
              </a:rPr>
              <a:t>Proporciona</a:t>
            </a:r>
            <a:r>
              <a:rPr lang="en-US" sz="4400">
                <a:latin typeface="Tw Cen MT Condensed Extra Bold" panose="020B0803020202020204" pitchFamily="34" charset="0"/>
              </a:rPr>
              <a:t> </a:t>
            </a:r>
            <a:r>
              <a:rPr lang="en-US" sz="4400" err="1">
                <a:latin typeface="Tw Cen MT Condensed Extra Bold" panose="020B0803020202020204" pitchFamily="34" charset="0"/>
              </a:rPr>
              <a:t>una</a:t>
            </a:r>
            <a:r>
              <a:rPr lang="en-US" sz="4400">
                <a:latin typeface="Tw Cen MT Condensed Extra Bold" panose="020B0803020202020204" pitchFamily="34" charset="0"/>
              </a:rPr>
              <a:t> </a:t>
            </a:r>
            <a:r>
              <a:rPr lang="en-US" sz="4400" err="1">
                <a:latin typeface="Tw Cen MT Condensed Extra Bold" panose="020B0803020202020204" pitchFamily="34" charset="0"/>
              </a:rPr>
              <a:t>Oportunidad</a:t>
            </a:r>
            <a:r>
              <a:rPr lang="en-US" sz="4400">
                <a:latin typeface="Tw Cen MT Condensed Extra Bold" panose="020B0803020202020204" pitchFamily="34" charset="0"/>
              </a:rPr>
              <a:t> Unica</a:t>
            </a:r>
          </a:p>
        </p:txBody>
      </p:sp>
      <p:sp>
        <p:nvSpPr>
          <p:cNvPr id="3" name="Content Placeholder 2">
            <a:extLst>
              <a:ext uri="{FF2B5EF4-FFF2-40B4-BE49-F238E27FC236}">
                <a16:creationId xmlns:a16="http://schemas.microsoft.com/office/drawing/2014/main" id="{D8B88D22-81CC-4D7E-A36F-E247E18C0656}"/>
              </a:ext>
            </a:extLst>
          </p:cNvPr>
          <p:cNvSpPr>
            <a:spLocks noGrp="1"/>
          </p:cNvSpPr>
          <p:nvPr>
            <p:ph sz="half" idx="1"/>
          </p:nvPr>
        </p:nvSpPr>
        <p:spPr>
          <a:xfrm>
            <a:off x="1047964" y="1715786"/>
            <a:ext cx="10096073" cy="4343400"/>
          </a:xfrm>
        </p:spPr>
        <p:txBody>
          <a:bodyPr>
            <a:normAutofit/>
          </a:bodyPr>
          <a:lstStyle/>
          <a:p>
            <a:pPr marL="0" indent="0" algn="ctr">
              <a:buNone/>
            </a:pPr>
            <a:r>
              <a:rPr lang="en-US" sz="2900">
                <a:latin typeface="+mj-lt"/>
              </a:rPr>
              <a:t>Con Washington College Grant (WCG), mas </a:t>
            </a:r>
            <a:r>
              <a:rPr lang="en-US" sz="2900" err="1">
                <a:latin typeface="+mj-lt"/>
              </a:rPr>
              <a:t>familias</a:t>
            </a:r>
            <a:r>
              <a:rPr lang="en-US" sz="2900">
                <a:latin typeface="+mj-lt"/>
              </a:rPr>
              <a:t> son </a:t>
            </a:r>
            <a:r>
              <a:rPr lang="en-US" sz="2900" err="1">
                <a:latin typeface="+mj-lt"/>
              </a:rPr>
              <a:t>elegibles</a:t>
            </a:r>
            <a:r>
              <a:rPr lang="en-US" sz="2900">
                <a:latin typeface="+mj-lt"/>
              </a:rPr>
              <a:t> para </a:t>
            </a:r>
            <a:r>
              <a:rPr lang="en-US" sz="2900" err="1">
                <a:latin typeface="+mj-lt"/>
              </a:rPr>
              <a:t>ayuda</a:t>
            </a:r>
            <a:r>
              <a:rPr lang="en-US" sz="2900">
                <a:latin typeface="+mj-lt"/>
              </a:rPr>
              <a:t> </a:t>
            </a:r>
            <a:r>
              <a:rPr lang="en-US" sz="2900" err="1">
                <a:latin typeface="+mj-lt"/>
              </a:rPr>
              <a:t>financiera</a:t>
            </a:r>
            <a:r>
              <a:rPr lang="en-US" sz="2900">
                <a:latin typeface="+mj-lt"/>
              </a:rPr>
              <a:t> </a:t>
            </a:r>
          </a:p>
        </p:txBody>
      </p:sp>
      <p:graphicFrame>
        <p:nvGraphicFramePr>
          <p:cNvPr id="5" name="Table 4" descr="An eligible individual with a family size of one with income up to $29,000 would receive a full award, or a partial award with income up to $53,000. An individual from an eligible family of four with income up to $56,000 would receive a full award, or a partial award with income up to $102,000.">
            <a:extLst>
              <a:ext uri="{FF2B5EF4-FFF2-40B4-BE49-F238E27FC236}">
                <a16:creationId xmlns:a16="http://schemas.microsoft.com/office/drawing/2014/main" id="{BB440BCC-5139-488C-BBF4-1333D7958AA9}"/>
              </a:ext>
            </a:extLst>
          </p:cNvPr>
          <p:cNvGraphicFramePr>
            <a:graphicFrameLocks noGrp="1"/>
          </p:cNvGraphicFramePr>
          <p:nvPr>
            <p:extLst>
              <p:ext uri="{D42A27DB-BD31-4B8C-83A1-F6EECF244321}">
                <p14:modId xmlns:p14="http://schemas.microsoft.com/office/powerpoint/2010/main" val="3955022081"/>
              </p:ext>
            </p:extLst>
          </p:nvPr>
        </p:nvGraphicFramePr>
        <p:xfrm>
          <a:off x="1047963" y="2772347"/>
          <a:ext cx="7182348" cy="3137760"/>
        </p:xfrm>
        <a:graphic>
          <a:graphicData uri="http://schemas.openxmlformats.org/drawingml/2006/table">
            <a:tbl>
              <a:tblPr firstRow="1" bandRow="1">
                <a:tableStyleId>{5C22544A-7EE6-4342-B048-85BDC9FD1C3A}</a:tableStyleId>
              </a:tblPr>
              <a:tblGrid>
                <a:gridCol w="2394116">
                  <a:extLst>
                    <a:ext uri="{9D8B030D-6E8A-4147-A177-3AD203B41FA5}">
                      <a16:colId xmlns:a16="http://schemas.microsoft.com/office/drawing/2014/main" val="1724055527"/>
                    </a:ext>
                  </a:extLst>
                </a:gridCol>
                <a:gridCol w="2394116">
                  <a:extLst>
                    <a:ext uri="{9D8B030D-6E8A-4147-A177-3AD203B41FA5}">
                      <a16:colId xmlns:a16="http://schemas.microsoft.com/office/drawing/2014/main" val="4256162939"/>
                    </a:ext>
                  </a:extLst>
                </a:gridCol>
                <a:gridCol w="2394116">
                  <a:extLst>
                    <a:ext uri="{9D8B030D-6E8A-4147-A177-3AD203B41FA5}">
                      <a16:colId xmlns:a16="http://schemas.microsoft.com/office/drawing/2014/main" val="1900674037"/>
                    </a:ext>
                  </a:extLst>
                </a:gridCol>
              </a:tblGrid>
              <a:tr h="434683">
                <a:tc>
                  <a:txBody>
                    <a:bodyPr/>
                    <a:lstStyle/>
                    <a:p>
                      <a:pPr algn="ctr"/>
                      <a:r>
                        <a:rPr lang="en-US" sz="2000">
                          <a:latin typeface="+mj-lt"/>
                        </a:rPr>
                        <a:t>Tamaño de Familia</a:t>
                      </a:r>
                    </a:p>
                  </a:txBody>
                  <a:tcPr marL="74087" marR="74087" marT="37044" marB="37044" anchor="ctr">
                    <a:solidFill>
                      <a:schemeClr val="accent2"/>
                    </a:solidFill>
                  </a:tcPr>
                </a:tc>
                <a:tc>
                  <a:txBody>
                    <a:bodyPr/>
                    <a:lstStyle/>
                    <a:p>
                      <a:pPr algn="ctr"/>
                      <a:r>
                        <a:rPr lang="en-US" sz="2000">
                          <a:latin typeface="+mj-lt"/>
                        </a:rPr>
                        <a:t>Monto </a:t>
                      </a:r>
                      <a:r>
                        <a:rPr lang="en-US" sz="2000" err="1">
                          <a:latin typeface="+mj-lt"/>
                        </a:rPr>
                        <a:t>Completo</a:t>
                      </a:r>
                      <a:endParaRPr lang="en-US" sz="2000">
                        <a:latin typeface="+mj-lt"/>
                      </a:endParaRPr>
                    </a:p>
                  </a:txBody>
                  <a:tcPr marL="74087" marR="74087" marT="37044" marB="37044" anchor="ctr">
                    <a:solidFill>
                      <a:schemeClr val="tx1"/>
                    </a:solidFill>
                  </a:tcPr>
                </a:tc>
                <a:tc>
                  <a:txBody>
                    <a:bodyPr/>
                    <a:lstStyle/>
                    <a:p>
                      <a:pPr algn="ctr"/>
                      <a:r>
                        <a:rPr lang="en-US" sz="2000">
                          <a:latin typeface="+mj-lt"/>
                        </a:rPr>
                        <a:t>Monto </a:t>
                      </a:r>
                      <a:r>
                        <a:rPr lang="en-US" sz="2000" err="1">
                          <a:latin typeface="+mj-lt"/>
                        </a:rPr>
                        <a:t>Parcial</a:t>
                      </a:r>
                      <a:endParaRPr lang="en-US" sz="2000">
                        <a:latin typeface="+mj-lt"/>
                      </a:endParaRPr>
                    </a:p>
                  </a:txBody>
                  <a:tcPr marL="74087" marR="74087" marT="37044" marB="37044" anchor="ctr">
                    <a:solidFill>
                      <a:schemeClr val="tx1"/>
                    </a:solidFill>
                  </a:tcPr>
                </a:tc>
                <a:extLst>
                  <a:ext uri="{0D108BD9-81ED-4DB2-BD59-A6C34878D82A}">
                    <a16:rowId xmlns:a16="http://schemas.microsoft.com/office/drawing/2014/main" val="1445503361"/>
                  </a:ext>
                </a:extLst>
              </a:tr>
              <a:tr h="1432354">
                <a:tc>
                  <a:txBody>
                    <a:bodyPr/>
                    <a:lstStyle/>
                    <a:p>
                      <a:pPr algn="ctr"/>
                      <a:endParaRPr lang="en-US" sz="2000">
                        <a:latin typeface="+mj-lt"/>
                      </a:endParaRPr>
                    </a:p>
                  </a:txBody>
                  <a:tcPr marL="74087" marR="74087" marT="37044" marB="37044">
                    <a:lnB w="9525" cap="flat" cmpd="sng" algn="ctr">
                      <a:solidFill>
                        <a:schemeClr val="tx1"/>
                      </a:solidFill>
                      <a:prstDash val="solid"/>
                      <a:round/>
                      <a:headEnd type="none" w="med" len="med"/>
                      <a:tailEnd type="none" w="med" len="med"/>
                    </a:lnB>
                    <a:noFill/>
                  </a:tcPr>
                </a:tc>
                <a:tc>
                  <a:txBody>
                    <a:bodyPr/>
                    <a:lstStyle/>
                    <a:p>
                      <a:pPr algn="ctr"/>
                      <a:r>
                        <a:rPr lang="en-US" sz="2000" b="1" err="1">
                          <a:solidFill>
                            <a:schemeClr val="tx1"/>
                          </a:solidFill>
                          <a:latin typeface="+mj-lt"/>
                        </a:rPr>
                        <a:t>Ingreso</a:t>
                      </a:r>
                      <a:endParaRPr lang="en-US" sz="2000" b="1">
                        <a:solidFill>
                          <a:schemeClr val="tx1"/>
                        </a:solidFill>
                        <a:latin typeface="+mj-lt"/>
                      </a:endParaRPr>
                    </a:p>
                    <a:p>
                      <a:pPr algn="ctr"/>
                      <a:r>
                        <a:rPr lang="en-US" sz="2000">
                          <a:solidFill>
                            <a:schemeClr val="tx1"/>
                          </a:solidFill>
                          <a:latin typeface="+mj-lt"/>
                        </a:rPr>
                        <a:t>$38,000</a:t>
                      </a:r>
                    </a:p>
                    <a:p>
                      <a:pPr algn="ctr"/>
                      <a:r>
                        <a:rPr lang="en-US" sz="2000">
                          <a:solidFill>
                            <a:schemeClr val="tx1"/>
                          </a:solidFill>
                          <a:latin typeface="+mj-lt"/>
                        </a:rPr>
                        <a:t>O </a:t>
                      </a:r>
                      <a:r>
                        <a:rPr lang="en-US" sz="2000" err="1">
                          <a:solidFill>
                            <a:schemeClr val="tx1"/>
                          </a:solidFill>
                          <a:latin typeface="+mj-lt"/>
                        </a:rPr>
                        <a:t>menos</a:t>
                      </a:r>
                      <a:endParaRPr lang="en-US" sz="2000">
                        <a:solidFill>
                          <a:schemeClr val="tx1"/>
                        </a:solidFill>
                        <a:latin typeface="+mj-lt"/>
                      </a:endParaRPr>
                    </a:p>
                  </a:txBody>
                  <a:tcPr marL="74087" marR="74087" marT="37044" marB="37044" anchor="ctr">
                    <a:lnB w="9525" cap="flat" cmpd="sng" algn="ctr">
                      <a:solidFill>
                        <a:schemeClr val="tx1"/>
                      </a:solidFill>
                      <a:prstDash val="solid"/>
                      <a:round/>
                      <a:headEnd type="none" w="med" len="med"/>
                      <a:tailEnd type="none" w="med" len="med"/>
                    </a:lnB>
                    <a:solidFill>
                      <a:schemeClr val="bg2"/>
                    </a:solidFill>
                  </a:tcPr>
                </a:tc>
                <a:tc>
                  <a:txBody>
                    <a:bodyPr/>
                    <a:lstStyle/>
                    <a:p>
                      <a:pPr algn="ctr"/>
                      <a:r>
                        <a:rPr lang="en-US" sz="2000" b="1" err="1">
                          <a:solidFill>
                            <a:schemeClr val="tx1"/>
                          </a:solidFill>
                          <a:latin typeface="+mj-lt"/>
                        </a:rPr>
                        <a:t>Ingreso</a:t>
                      </a:r>
                      <a:endParaRPr lang="en-US" sz="2000" b="1">
                        <a:solidFill>
                          <a:schemeClr val="tx1"/>
                        </a:solidFill>
                        <a:latin typeface="+mj-lt"/>
                      </a:endParaRPr>
                    </a:p>
                    <a:p>
                      <a:pPr algn="ctr"/>
                      <a:r>
                        <a:rPr lang="en-US" sz="2000">
                          <a:solidFill>
                            <a:schemeClr val="tx1"/>
                          </a:solidFill>
                          <a:latin typeface="+mj-lt"/>
                        </a:rPr>
                        <a:t>Hasta </a:t>
                      </a:r>
                    </a:p>
                    <a:p>
                      <a:pPr algn="ctr"/>
                      <a:r>
                        <a:rPr lang="en-US" sz="2000">
                          <a:solidFill>
                            <a:schemeClr val="tx1"/>
                          </a:solidFill>
                          <a:latin typeface="+mj-lt"/>
                        </a:rPr>
                        <a:t>$58,500</a:t>
                      </a:r>
                    </a:p>
                  </a:txBody>
                  <a:tcPr marL="74087" marR="74087" marT="37044" marB="37044" anchor="ctr">
                    <a:lnB w="9525"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3948592891"/>
                  </a:ext>
                </a:extLst>
              </a:tr>
              <a:tr h="1270723">
                <a:tc>
                  <a:txBody>
                    <a:bodyPr/>
                    <a:lstStyle/>
                    <a:p>
                      <a:pPr algn="ctr"/>
                      <a:endParaRPr lang="en-US" sz="2000">
                        <a:latin typeface="+mj-lt"/>
                      </a:endParaRPr>
                    </a:p>
                  </a:txBody>
                  <a:tcPr marL="74087" marR="74087" marT="37044" marB="37044">
                    <a:lnT w="9525" cap="flat" cmpd="sng" algn="ctr">
                      <a:solidFill>
                        <a:schemeClr val="tx1"/>
                      </a:solidFill>
                      <a:prstDash val="solid"/>
                      <a:round/>
                      <a:headEnd type="none" w="med" len="med"/>
                      <a:tailEnd type="none" w="med" len="med"/>
                    </a:lnT>
                    <a:noFill/>
                  </a:tcPr>
                </a:tc>
                <a:tc>
                  <a:txBody>
                    <a:bodyPr/>
                    <a:lstStyle/>
                    <a:p>
                      <a:pPr algn="ctr"/>
                      <a:endParaRPr lang="en-US" sz="2000">
                        <a:solidFill>
                          <a:schemeClr val="tx1"/>
                        </a:solidFill>
                        <a:latin typeface="+mj-lt"/>
                      </a:endParaRPr>
                    </a:p>
                    <a:p>
                      <a:pPr algn="ctr"/>
                      <a:r>
                        <a:rPr lang="en-US" sz="2000">
                          <a:solidFill>
                            <a:schemeClr val="tx1"/>
                          </a:solidFill>
                          <a:latin typeface="+mj-lt"/>
                        </a:rPr>
                        <a:t>$73,000</a:t>
                      </a:r>
                    </a:p>
                    <a:p>
                      <a:pPr algn="ctr"/>
                      <a:r>
                        <a:rPr lang="en-US" sz="2000">
                          <a:solidFill>
                            <a:schemeClr val="tx1"/>
                          </a:solidFill>
                          <a:latin typeface="+mj-lt"/>
                        </a:rPr>
                        <a:t>O </a:t>
                      </a:r>
                      <a:r>
                        <a:rPr lang="en-US" sz="2000" err="1">
                          <a:solidFill>
                            <a:schemeClr val="tx1"/>
                          </a:solidFill>
                          <a:latin typeface="+mj-lt"/>
                        </a:rPr>
                        <a:t>menos</a:t>
                      </a:r>
                      <a:endParaRPr lang="en-US" sz="2000">
                        <a:solidFill>
                          <a:schemeClr val="tx1"/>
                        </a:solidFill>
                        <a:latin typeface="+mj-lt"/>
                      </a:endParaRPr>
                    </a:p>
                  </a:txBody>
                  <a:tcPr marL="74087" marR="74087" marT="37044" marB="37044" anchor="ctr">
                    <a:lnT w="9525" cap="flat" cmpd="sng" algn="ctr">
                      <a:solidFill>
                        <a:schemeClr val="tx1"/>
                      </a:solidFill>
                      <a:prstDash val="solid"/>
                      <a:round/>
                      <a:headEnd type="none" w="med" len="med"/>
                      <a:tailEnd type="none" w="med" len="med"/>
                    </a:lnT>
                    <a:solidFill>
                      <a:schemeClr val="bg2"/>
                    </a:solidFill>
                  </a:tcPr>
                </a:tc>
                <a:tc>
                  <a:txBody>
                    <a:bodyPr/>
                    <a:lstStyle/>
                    <a:p>
                      <a:pPr algn="ctr"/>
                      <a:endParaRPr lang="en-US" sz="2000">
                        <a:solidFill>
                          <a:schemeClr val="tx1"/>
                        </a:solidFill>
                        <a:latin typeface="+mj-lt"/>
                      </a:endParaRPr>
                    </a:p>
                    <a:p>
                      <a:pPr algn="ctr"/>
                      <a:r>
                        <a:rPr lang="en-US" sz="2000">
                          <a:solidFill>
                            <a:schemeClr val="tx1"/>
                          </a:solidFill>
                          <a:latin typeface="+mj-lt"/>
                        </a:rPr>
                        <a:t>Hasta </a:t>
                      </a:r>
                    </a:p>
                    <a:p>
                      <a:pPr algn="ctr"/>
                      <a:r>
                        <a:rPr lang="en-US" sz="2000">
                          <a:solidFill>
                            <a:schemeClr val="tx1"/>
                          </a:solidFill>
                          <a:latin typeface="+mj-lt"/>
                        </a:rPr>
                        <a:t>$112,500</a:t>
                      </a:r>
                    </a:p>
                  </a:txBody>
                  <a:tcPr marL="74087" marR="74087" marT="37044" marB="37044" anchor="ctr">
                    <a:lnT w="9525" cap="flat" cmpd="sng" algn="ctr">
                      <a:solidFill>
                        <a:schemeClr val="tx1"/>
                      </a:solidFill>
                      <a:prstDash val="solid"/>
                      <a:round/>
                      <a:headEnd type="none" w="med" len="med"/>
                      <a:tailEnd type="none" w="med" len="med"/>
                    </a:lnT>
                    <a:solidFill>
                      <a:schemeClr val="bg2"/>
                    </a:solidFill>
                  </a:tcPr>
                </a:tc>
                <a:extLst>
                  <a:ext uri="{0D108BD9-81ED-4DB2-BD59-A6C34878D82A}">
                    <a16:rowId xmlns:a16="http://schemas.microsoft.com/office/drawing/2014/main" val="2568638344"/>
                  </a:ext>
                </a:extLst>
              </a:tr>
            </a:tbl>
          </a:graphicData>
        </a:graphic>
      </p:graphicFrame>
      <p:pic>
        <p:nvPicPr>
          <p:cNvPr id="6" name="Picture 5">
            <a:extLst>
              <a:ext uri="{FF2B5EF4-FFF2-40B4-BE49-F238E27FC236}">
                <a16:creationId xmlns:a16="http://schemas.microsoft.com/office/drawing/2014/main" id="{8371382A-50A3-4B6B-B715-C722C20B8274}"/>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35476" y="3333729"/>
            <a:ext cx="1008952" cy="1257458"/>
          </a:xfrm>
          <a:prstGeom prst="rect">
            <a:avLst/>
          </a:prstGeom>
        </p:spPr>
      </p:pic>
      <p:pic>
        <p:nvPicPr>
          <p:cNvPr id="7" name="Picture 6">
            <a:extLst>
              <a:ext uri="{FF2B5EF4-FFF2-40B4-BE49-F238E27FC236}">
                <a16:creationId xmlns:a16="http://schemas.microsoft.com/office/drawing/2014/main" id="{662A1C95-4D9E-4743-859D-6818FCCE7710}"/>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15447" y="4714421"/>
            <a:ext cx="2049010" cy="1222889"/>
          </a:xfrm>
          <a:prstGeom prst="rect">
            <a:avLst/>
          </a:prstGeom>
        </p:spPr>
      </p:pic>
      <p:sp>
        <p:nvSpPr>
          <p:cNvPr id="8" name="Content Placeholder 7">
            <a:extLst>
              <a:ext uri="{FF2B5EF4-FFF2-40B4-BE49-F238E27FC236}">
                <a16:creationId xmlns:a16="http://schemas.microsoft.com/office/drawing/2014/main" id="{9790B522-0363-4C91-A736-4239A504199E}"/>
              </a:ext>
            </a:extLst>
          </p:cNvPr>
          <p:cNvSpPr>
            <a:spLocks noGrp="1"/>
          </p:cNvSpPr>
          <p:nvPr>
            <p:ph sz="half" idx="2"/>
          </p:nvPr>
        </p:nvSpPr>
        <p:spPr>
          <a:xfrm>
            <a:off x="8620017" y="2772347"/>
            <a:ext cx="2936925" cy="1912067"/>
          </a:xfrm>
        </p:spPr>
        <p:txBody>
          <a:bodyPr>
            <a:noAutofit/>
          </a:bodyPr>
          <a:lstStyle/>
          <a:p>
            <a:pPr marL="0" indent="0">
              <a:buNone/>
            </a:pPr>
            <a:r>
              <a:rPr lang="en-US">
                <a:latin typeface="+mj-lt"/>
              </a:rPr>
              <a:t>Los </a:t>
            </a:r>
            <a:r>
              <a:rPr lang="en-US" err="1">
                <a:latin typeface="+mj-lt"/>
              </a:rPr>
              <a:t>montos</a:t>
            </a:r>
            <a:r>
              <a:rPr lang="en-US">
                <a:latin typeface="+mj-lt"/>
              </a:rPr>
              <a:t> </a:t>
            </a:r>
            <a:r>
              <a:rPr lang="en-US" err="1">
                <a:latin typeface="+mj-lt"/>
              </a:rPr>
              <a:t>varian</a:t>
            </a:r>
            <a:r>
              <a:rPr lang="en-US">
                <a:latin typeface="+mj-lt"/>
              </a:rPr>
              <a:t> </a:t>
            </a:r>
            <a:r>
              <a:rPr lang="en-US" err="1">
                <a:latin typeface="+mj-lt"/>
              </a:rPr>
              <a:t>basados</a:t>
            </a:r>
            <a:r>
              <a:rPr lang="en-US">
                <a:latin typeface="+mj-lt"/>
              </a:rPr>
              <a:t> en el </a:t>
            </a:r>
            <a:r>
              <a:rPr lang="en-US" err="1">
                <a:latin typeface="+mj-lt"/>
              </a:rPr>
              <a:t>ingreso</a:t>
            </a:r>
            <a:r>
              <a:rPr lang="en-US">
                <a:latin typeface="+mj-lt"/>
              </a:rPr>
              <a:t>, tamaño de la </a:t>
            </a:r>
            <a:r>
              <a:rPr lang="en-US" err="1">
                <a:latin typeface="+mj-lt"/>
              </a:rPr>
              <a:t>familia</a:t>
            </a:r>
            <a:r>
              <a:rPr lang="en-US">
                <a:latin typeface="+mj-lt"/>
              </a:rPr>
              <a:t> y la </a:t>
            </a:r>
            <a:r>
              <a:rPr lang="en-US" err="1">
                <a:latin typeface="+mj-lt"/>
              </a:rPr>
              <a:t>escuela</a:t>
            </a:r>
            <a:r>
              <a:rPr lang="en-US">
                <a:latin typeface="+mj-lt"/>
              </a:rPr>
              <a:t> o el </a:t>
            </a:r>
            <a:r>
              <a:rPr lang="en-US" err="1">
                <a:latin typeface="+mj-lt"/>
              </a:rPr>
              <a:t>programa</a:t>
            </a:r>
            <a:r>
              <a:rPr lang="en-US">
                <a:latin typeface="+mj-lt"/>
              </a:rPr>
              <a:t> al que asistirá.</a:t>
            </a:r>
          </a:p>
        </p:txBody>
      </p:sp>
      <p:pic>
        <p:nvPicPr>
          <p:cNvPr id="10" name="Picture 9">
            <a:extLst>
              <a:ext uri="{FF2B5EF4-FFF2-40B4-BE49-F238E27FC236}">
                <a16:creationId xmlns:a16="http://schemas.microsoft.com/office/drawing/2014/main" id="{0C5DCB56-B45B-9A0D-F9B6-594948387DBB}"/>
              </a:ext>
            </a:extLst>
          </p:cNvPr>
          <p:cNvPicPr>
            <a:picLocks noChangeAspect="1"/>
          </p:cNvPicPr>
          <p:nvPr/>
        </p:nvPicPr>
        <p:blipFill>
          <a:blip r:embed="rId5"/>
          <a:stretch>
            <a:fillRect/>
          </a:stretch>
        </p:blipFill>
        <p:spPr>
          <a:xfrm>
            <a:off x="8359694" y="4935758"/>
            <a:ext cx="3677163" cy="1667108"/>
          </a:xfrm>
          <a:prstGeom prst="rect">
            <a:avLst/>
          </a:prstGeom>
        </p:spPr>
      </p:pic>
    </p:spTree>
    <p:extLst>
      <p:ext uri="{BB962C8B-B14F-4D97-AF65-F5344CB8AC3E}">
        <p14:creationId xmlns:p14="http://schemas.microsoft.com/office/powerpoint/2010/main" val="2983452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D77DF-BECA-4E23-BD6E-D8C9F72CDEB5}"/>
              </a:ext>
            </a:extLst>
          </p:cNvPr>
          <p:cNvSpPr>
            <a:spLocks noGrp="1"/>
          </p:cNvSpPr>
          <p:nvPr>
            <p:ph type="title"/>
          </p:nvPr>
        </p:nvSpPr>
        <p:spPr/>
        <p:txBody>
          <a:bodyPr>
            <a:normAutofit/>
          </a:bodyPr>
          <a:lstStyle/>
          <a:p>
            <a:r>
              <a:rPr lang="en-US" sz="4400" err="1"/>
              <a:t>Becas</a:t>
            </a:r>
            <a:endParaRPr lang="en-US" sz="3200"/>
          </a:p>
        </p:txBody>
      </p:sp>
      <p:sp>
        <p:nvSpPr>
          <p:cNvPr id="3" name="Content Placeholder 2">
            <a:extLst>
              <a:ext uri="{FF2B5EF4-FFF2-40B4-BE49-F238E27FC236}">
                <a16:creationId xmlns:a16="http://schemas.microsoft.com/office/drawing/2014/main" id="{BFD1B957-2E8E-4432-A7E5-0F7A0AB4C3B2}"/>
              </a:ext>
            </a:extLst>
          </p:cNvPr>
          <p:cNvSpPr>
            <a:spLocks noGrp="1"/>
          </p:cNvSpPr>
          <p:nvPr>
            <p:ph idx="1"/>
          </p:nvPr>
        </p:nvSpPr>
        <p:spPr>
          <a:xfrm>
            <a:off x="1295400" y="1702934"/>
            <a:ext cx="9601200" cy="4343400"/>
          </a:xfrm>
        </p:spPr>
        <p:txBody>
          <a:bodyPr>
            <a:normAutofit/>
          </a:bodyPr>
          <a:lstStyle/>
          <a:p>
            <a:pPr marL="0" indent="0">
              <a:buNone/>
            </a:pPr>
            <a:r>
              <a:rPr lang="en-US" sz="3200"/>
              <a:t>Las </a:t>
            </a:r>
            <a:r>
              <a:rPr lang="en-US" sz="3200" err="1"/>
              <a:t>becas</a:t>
            </a:r>
            <a:r>
              <a:rPr lang="en-US" sz="3200"/>
              <a:t> son regalos que no </a:t>
            </a:r>
            <a:r>
              <a:rPr lang="en-US" sz="3200" err="1"/>
              <a:t>ocupan</a:t>
            </a:r>
            <a:r>
              <a:rPr lang="en-US" sz="3200"/>
              <a:t> ser </a:t>
            </a:r>
            <a:r>
              <a:rPr lang="en-US" sz="3200" err="1"/>
              <a:t>reembolsados</a:t>
            </a:r>
            <a:r>
              <a:rPr lang="en-US" sz="3200"/>
              <a:t> y son diseñadas para </a:t>
            </a:r>
            <a:r>
              <a:rPr lang="en-US" sz="3200" err="1"/>
              <a:t>ayudar</a:t>
            </a:r>
            <a:r>
              <a:rPr lang="en-US" sz="3200"/>
              <a:t> a </a:t>
            </a:r>
            <a:r>
              <a:rPr lang="en-US" sz="3200" err="1"/>
              <a:t>estudiantes</a:t>
            </a:r>
            <a:r>
              <a:rPr lang="en-US" sz="3200"/>
              <a:t> a </a:t>
            </a:r>
            <a:r>
              <a:rPr lang="en-US" sz="3200" err="1"/>
              <a:t>pagar</a:t>
            </a:r>
            <a:r>
              <a:rPr lang="en-US" sz="3200"/>
              <a:t> </a:t>
            </a:r>
            <a:r>
              <a:rPr lang="en-US" sz="3200" err="1"/>
              <a:t>su</a:t>
            </a:r>
            <a:r>
              <a:rPr lang="en-US" sz="3200"/>
              <a:t> </a:t>
            </a:r>
            <a:r>
              <a:rPr lang="en-US" sz="3200" err="1"/>
              <a:t>colegiatura</a:t>
            </a:r>
            <a:r>
              <a:rPr lang="en-US" sz="3200"/>
              <a:t>. </a:t>
            </a:r>
            <a:r>
              <a:rPr lang="en-US" sz="3200" err="1"/>
              <a:t>Pueden</a:t>
            </a:r>
            <a:r>
              <a:rPr lang="en-US" sz="3200"/>
              <a:t> ser un regalo de </a:t>
            </a:r>
            <a:r>
              <a:rPr lang="en-US" sz="3200" err="1"/>
              <a:t>una</a:t>
            </a:r>
            <a:r>
              <a:rPr lang="en-US" sz="3200"/>
              <a:t> sola </a:t>
            </a:r>
            <a:r>
              <a:rPr lang="en-US" sz="3200" err="1"/>
              <a:t>vez</a:t>
            </a:r>
            <a:r>
              <a:rPr lang="en-US" sz="3200"/>
              <a:t> o </a:t>
            </a:r>
            <a:r>
              <a:rPr lang="en-US" sz="3200" err="1"/>
              <a:t>pueden</a:t>
            </a:r>
            <a:r>
              <a:rPr lang="en-US" sz="3200"/>
              <a:t> ser renovable. </a:t>
            </a:r>
          </a:p>
          <a:p>
            <a:pPr marL="0" indent="0">
              <a:buNone/>
            </a:pPr>
            <a:r>
              <a:rPr lang="en-US" sz="3200" err="1"/>
              <a:t>Usted</a:t>
            </a:r>
            <a:r>
              <a:rPr lang="en-US" sz="3200"/>
              <a:t> </a:t>
            </a:r>
            <a:r>
              <a:rPr lang="en-US" sz="3200" err="1"/>
              <a:t>puede</a:t>
            </a:r>
            <a:r>
              <a:rPr lang="en-US" sz="3200"/>
              <a:t> </a:t>
            </a:r>
            <a:r>
              <a:rPr lang="en-US" sz="3200" err="1"/>
              <a:t>comenzar</a:t>
            </a:r>
            <a:r>
              <a:rPr lang="en-US" sz="3200"/>
              <a:t> </a:t>
            </a:r>
            <a:r>
              <a:rPr lang="en-US" sz="3200" err="1"/>
              <a:t>su</a:t>
            </a:r>
            <a:r>
              <a:rPr lang="en-US" sz="3200"/>
              <a:t> </a:t>
            </a:r>
            <a:r>
              <a:rPr lang="en-US" sz="3200" err="1"/>
              <a:t>busqueda</a:t>
            </a:r>
            <a:r>
              <a:rPr lang="en-US" sz="3200"/>
              <a:t> de </a:t>
            </a:r>
            <a:r>
              <a:rPr lang="en-US" sz="3200" err="1"/>
              <a:t>becas</a:t>
            </a:r>
            <a:r>
              <a:rPr lang="en-US" sz="3200"/>
              <a:t> </a:t>
            </a:r>
            <a:r>
              <a:rPr lang="en-US" sz="3200" err="1"/>
              <a:t>yendo</a:t>
            </a:r>
            <a:r>
              <a:rPr lang="en-US" sz="3200"/>
              <a:t> a thewashboard.org </a:t>
            </a:r>
          </a:p>
        </p:txBody>
      </p:sp>
      <p:pic>
        <p:nvPicPr>
          <p:cNvPr id="2050" name="Picture 2" descr="The Washboard.org- Washington Scholarship Coalition — Everett Helplink">
            <a:extLst>
              <a:ext uri="{FF2B5EF4-FFF2-40B4-BE49-F238E27FC236}">
                <a16:creationId xmlns:a16="http://schemas.microsoft.com/office/drawing/2014/main" id="{B3EE4C62-463C-4409-B73A-D507F1CB8A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8187" y="5203999"/>
            <a:ext cx="5253038" cy="139886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1">
            <a:extLst>
              <a:ext uri="{FF2B5EF4-FFF2-40B4-BE49-F238E27FC236}">
                <a16:creationId xmlns:a16="http://schemas.microsoft.com/office/drawing/2014/main" id="{D49BE386-5596-443F-9A46-279AD49AC775}"/>
              </a:ext>
            </a:extLst>
          </p:cNvPr>
          <p:cNvSpPr>
            <a:spLocks noChangeArrowheads="1"/>
          </p:cNvSpPr>
          <p:nvPr/>
        </p:nvSpPr>
        <p:spPr bwMode="auto">
          <a:xfrm>
            <a:off x="0" y="101318"/>
            <a:ext cx="65" cy="25456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1109" rIns="0" bIns="-1110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n-US" sz="1800" b="0" i="0" u="none" strike="noStrike" cap="none" normalizeH="0" baseline="0">
              <a:ln>
                <a:noFill/>
              </a:ln>
              <a:solidFill>
                <a:schemeClr val="tx1"/>
              </a:solidFill>
              <a:effectLst/>
              <a:latin typeface="Arial" panose="020B0604020202020204" pitchFamily="34" charset="0"/>
            </a:endParaRPr>
          </a:p>
        </p:txBody>
      </p:sp>
      <p:sp>
        <p:nvSpPr>
          <p:cNvPr id="5" name="Rectangle 2">
            <a:extLst>
              <a:ext uri="{FF2B5EF4-FFF2-40B4-BE49-F238E27FC236}">
                <a16:creationId xmlns:a16="http://schemas.microsoft.com/office/drawing/2014/main" id="{F45992DB-3690-45F5-A694-DDECBBA08D3D}"/>
              </a:ext>
            </a:extLst>
          </p:cNvPr>
          <p:cNvSpPr>
            <a:spLocks noChangeArrowheads="1"/>
          </p:cNvSpPr>
          <p:nvPr/>
        </p:nvSpPr>
        <p:spPr bwMode="auto">
          <a:xfrm>
            <a:off x="595312" y="127852"/>
            <a:ext cx="65" cy="254564"/>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1109" rIns="0" bIns="-11109"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s-ES" altLang="en-US" sz="1800" b="0" i="0" u="none" strike="noStrike" cap="none" normalizeH="0" baseline="0">
              <a:ln>
                <a:noFill/>
              </a:ln>
              <a:solidFill>
                <a:schemeClr val="tx1"/>
              </a:solidFill>
              <a:effectLst/>
              <a:latin typeface="Arial" panose="020B0604020202020204" pitchFamily="34" charset="0"/>
            </a:endParaRPr>
          </a:p>
        </p:txBody>
      </p:sp>
      <p:pic>
        <p:nvPicPr>
          <p:cNvPr id="6" name="Picture 2" descr="WSOS-FINAL-LOGO-main">
            <a:extLst>
              <a:ext uri="{FF2B5EF4-FFF2-40B4-BE49-F238E27FC236}">
                <a16:creationId xmlns:a16="http://schemas.microsoft.com/office/drawing/2014/main" id="{07EBA453-FC8F-7662-B30B-3B618ACB68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1465" y="5484332"/>
            <a:ext cx="2857500" cy="838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19345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a7sPQr0BDDBmIYtlUgMfg"/>
</p:tagLst>
</file>

<file path=ppt/theme/theme1.xml><?xml version="1.0" encoding="utf-8"?>
<a:theme xmlns:a="http://schemas.openxmlformats.org/drawingml/2006/main" name="Sales Direction 16X9">
  <a:themeElements>
    <a:clrScheme name="Custom 1">
      <a:dk1>
        <a:srgbClr val="3F3F3F"/>
      </a:dk1>
      <a:lt1>
        <a:sysClr val="window" lastClr="FFFFFF"/>
      </a:lt1>
      <a:dk2>
        <a:srgbClr val="7F7F7F"/>
      </a:dk2>
      <a:lt2>
        <a:srgbClr val="FFFFFF"/>
      </a:lt2>
      <a:accent1>
        <a:srgbClr val="C6892B"/>
      </a:accent1>
      <a:accent2>
        <a:srgbClr val="174479"/>
      </a:accent2>
      <a:accent3>
        <a:srgbClr val="346625"/>
      </a:accent3>
      <a:accent4>
        <a:srgbClr val="76787B"/>
      </a:accent4>
      <a:accent5>
        <a:srgbClr val="7A1C16"/>
      </a:accent5>
      <a:accent6>
        <a:srgbClr val="60B9CD"/>
      </a:accent6>
      <a:hlink>
        <a:srgbClr val="12446A"/>
      </a:hlink>
      <a:folHlink>
        <a:srgbClr val="4B1211"/>
      </a:folHlink>
    </a:clrScheme>
    <a:fontScheme name="Tw Cen MT-Rockwell">
      <a:majorFont>
        <a:latin typeface="Tw Cen MT" panose="020B0602020104020603"/>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Rockwell" panose="02060603020205020403"/>
        <a:ea typeface=""/>
        <a:cs typeface=""/>
        <a:font script="Grek" typeface="Cambria"/>
        <a:font script="Cyrl" typeface="Cambria"/>
        <a:font script="Jpan" typeface="HG明朝B"/>
        <a:font script="Hang" typeface="바탕"/>
        <a:font script="Hans" typeface="方正姚体"/>
        <a:font script="Hant" typeface="標楷體"/>
        <a:font script="Arab" typeface="Times New Roman"/>
        <a:font script="Hebr" typeface="David"/>
        <a:font script="Thai" typeface="Jasmine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lesDirection_16x9.potx" id="{FE35DD5A-B687-4161-B4D9-35484B75A379}" vid="{5DB76398-B2EF-4269-B3B2-C0E4C29F3554}"/>
    </a:ext>
  </a:extLst>
</a:theme>
</file>

<file path=ppt/theme/theme2.xml><?xml version="1.0" encoding="utf-8"?>
<a:theme xmlns:a="http://schemas.openxmlformats.org/drawingml/2006/main" name="Office Theme">
  <a:themeElements>
    <a:clrScheme name="Swift Student">
      <a:dk1>
        <a:srgbClr val="0070A9"/>
      </a:dk1>
      <a:lt1>
        <a:srgbClr val="FFFFFF"/>
      </a:lt1>
      <a:dk2>
        <a:srgbClr val="0070A9"/>
      </a:dk2>
      <a:lt2>
        <a:srgbClr val="DFF7FF"/>
      </a:lt2>
      <a:accent1>
        <a:srgbClr val="53C3EA"/>
      </a:accent1>
      <a:accent2>
        <a:srgbClr val="FFDE73"/>
      </a:accent2>
      <a:accent3>
        <a:srgbClr val="95ED95"/>
      </a:accent3>
      <a:accent4>
        <a:srgbClr val="53C3EA"/>
      </a:accent4>
      <a:accent5>
        <a:srgbClr val="53C3EA"/>
      </a:accent5>
      <a:accent6>
        <a:srgbClr val="53C3EA"/>
      </a:accent6>
      <a:hlink>
        <a:srgbClr val="349934"/>
      </a:hlink>
      <a:folHlink>
        <a:srgbClr val="5EBB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wift-Student-Template" id="{398D9A92-A49B-CC45-876D-3F60039FAF67}" vid="{7A8E1969-63CA-EA4B-BECF-5EC59ABC203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F3DD55CFCF0CD4AB964262FA2029D18" ma:contentTypeVersion="27" ma:contentTypeDescription="Create a new document." ma:contentTypeScope="" ma:versionID="d3ca2ad3b73ad6fd81e48f64f42d9d92">
  <xsd:schema xmlns:xsd="http://www.w3.org/2001/XMLSchema" xmlns:xs="http://www.w3.org/2001/XMLSchema" xmlns:p="http://schemas.microsoft.com/office/2006/metadata/properties" xmlns:ns1="http://schemas.microsoft.com/sharepoint/v3" xmlns:ns2="894dbb2b-35e3-4e40-b282-4baa343bc3bc" xmlns:ns3="2a0342cf-57d7-47d6-b188-dab1e1632426" targetNamespace="http://schemas.microsoft.com/office/2006/metadata/properties" ma:root="true" ma:fieldsID="c64d63696765491e7ab4bb37a6ae246e" ns1:_="" ns2:_="" ns3:_="">
    <xsd:import namespace="http://schemas.microsoft.com/sharepoint/v3"/>
    <xsd:import namespace="894dbb2b-35e3-4e40-b282-4baa343bc3bc"/>
    <xsd:import namespace="2a0342cf-57d7-47d6-b188-dab1e1632426"/>
    <xsd:element name="properties">
      <xsd:complexType>
        <xsd:sequence>
          <xsd:element name="documentManagement">
            <xsd:complexType>
              <xsd:all>
                <xsd:element ref="ns2:Program" minOccurs="0"/>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ServiceAutoTags" minOccurs="0"/>
                <xsd:element ref="ns2:MediaServiceOCR" minOccurs="0"/>
                <xsd:element ref="ns2:MediaServiceGenerationTime" minOccurs="0"/>
                <xsd:element ref="ns2:MediaServiceEventHashCode" minOccurs="0"/>
                <xsd:element ref="ns2:Audience" minOccurs="0"/>
                <xsd:element ref="ns2:MediaServiceDateTaken" minOccurs="0"/>
                <xsd:element ref="ns2:MediaLengthInSeconds" minOccurs="0"/>
                <xsd:element ref="ns2:MediaServiceLocation"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ma:readOnly="false">
      <xsd:simpleType>
        <xsd:restriction base="dms:Note"/>
      </xsd:simpleType>
    </xsd:element>
    <xsd:element name="_ip_UnifiedCompliancePolicyUIAction" ma:index="12" nillable="true" ma:displayName="Unified Compliance Policy UI Action" ma:hidden="true" ma:internalName="_ip_UnifiedCompliancePolicyUIAction" ma:readOnly="fals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94dbb2b-35e3-4e40-b282-4baa343bc3bc" elementFormDefault="qualified">
    <xsd:import namespace="http://schemas.microsoft.com/office/2006/documentManagement/types"/>
    <xsd:import namespace="http://schemas.microsoft.com/office/infopath/2007/PartnerControls"/>
    <xsd:element name="Program" ma:index="1" nillable="true" ma:displayName="Program" ma:format="Dropdown" ma:internalName="Program">
      <xsd:complexType>
        <xsd:complexContent>
          <xsd:extension base="dms:MultiChoice">
            <xsd:sequence>
              <xsd:element name="Value" maxOccurs="unbounded" minOccurs="0" nillable="true">
                <xsd:simpleType>
                  <xsd:restriction base="dms:Choice">
                    <xsd:enumeration value="12th Year"/>
                    <xsd:enumeration value="Accounting"/>
                    <xsd:enumeration value="Admissions"/>
                    <xsd:enumeration value="Aerospace"/>
                    <xsd:enumeration value="Agency - General"/>
                    <xsd:enumeration value="AIES"/>
                    <xsd:enumeration value="Apprenticeships"/>
                    <xsd:enumeration value="Budget"/>
                    <xsd:enumeration value="CBS"/>
                    <xsd:enumeration value="Closures"/>
                    <xsd:enumeration value="College Readiness"/>
                    <xsd:enumeration value="Comm - Analytics"/>
                    <xsd:enumeration value="Comm - Billing &amp; Subscriptions"/>
                    <xsd:enumeration value="Comm - Branding"/>
                    <xsd:enumeration value="Comm - Contracts &amp; Field Orders"/>
                    <xsd:enumeration value="Comm - CTM"/>
                    <xsd:enumeration value="Comm - Forms"/>
                    <xsd:enumeration value="Comm - GovDelivery"/>
                    <xsd:enumeration value="Comm - Graphics"/>
                    <xsd:enumeration value="Comm - In the Know"/>
                    <xsd:enumeration value="Comm - Marketing &amp; Outreach"/>
                    <xsd:enumeration value="Comm - News Media"/>
                    <xsd:enumeration value="Comm - Partnerships"/>
                    <xsd:enumeration value="Comm - Personnel"/>
                    <xsd:enumeration value="Comm - Planning"/>
                    <xsd:enumeration value="Comm - Processes &amp; Protocols"/>
                    <xsd:enumeration value="Comm - Product Development Guide"/>
                    <xsd:enumeration value="Comm - Professional Development"/>
                    <xsd:enumeration value="Comm - Reports &amp; Briefs"/>
                    <xsd:enumeration value="Comm - Resources"/>
                    <xsd:enumeration value="Comm - Social Media"/>
                    <xsd:enumeration value="Comm - Surveys"/>
                    <xsd:enumeration value="Comm - Talking Points"/>
                    <xsd:enumeration value="Comm - Templates"/>
                    <xsd:enumeration value="Comm - Tools"/>
                    <xsd:enumeration value="Comm - Websites"/>
                    <xsd:enumeration value="Compass"/>
                    <xsd:enumeration value="Competitive Grants"/>
                    <xsd:enumeration value="Complaints"/>
                    <xsd:enumeration value="Council"/>
                    <xsd:enumeration value="Degree Authorization"/>
                    <xsd:enumeration value="Dual Credit"/>
                    <xsd:enumeration value="Enrollment"/>
                    <xsd:enumeration value="Equity"/>
                    <xsd:enumeration value="External"/>
                    <xsd:enumeration value="Executive Office"/>
                    <xsd:enumeration value="FAFSA &amp; WASFA"/>
                    <xsd:enumeration value="GEAR UP"/>
                    <xsd:enumeration value="Health"/>
                    <xsd:enumeration value="Human Resources"/>
                    <xsd:enumeration value="IT"/>
                    <xsd:enumeration value="Legislative"/>
                    <xsd:enumeration value="National Guard"/>
                    <xsd:enumeration value="Otterbot"/>
                    <xsd:enumeration value="Passport"/>
                    <xsd:enumeration value="Policies and Protocols"/>
                    <xsd:enumeration value="Policy"/>
                    <xsd:enumeration value="Prior Learning"/>
                    <xsd:enumeration value="Regional Challenge Grants"/>
                    <xsd:enumeration value="Research"/>
                    <xsd:enumeration value="Residency"/>
                    <xsd:enumeration value="Roadmap &amp; SAP"/>
                    <xsd:enumeration value="SFA"/>
                    <xsd:enumeration value="Student Loan"/>
                    <xsd:enumeration value="Student Supports"/>
                    <xsd:enumeration value="SWS"/>
                    <xsd:enumeration value="Teachers"/>
                    <xsd:enumeration value="Transfers"/>
                    <xsd:enumeration value="Tuition"/>
                    <xsd:enumeration value="Veterans"/>
                    <xsd:enumeration value="WA529"/>
                    <xsd:enumeration value="Washboard"/>
                    <xsd:enumeration value="WCG"/>
                    <xsd:enumeration value="Workforce"/>
                    <xsd:enumeration value="Choice 75"/>
                  </xsd:restriction>
                </xsd:simpleType>
              </xsd:element>
            </xsd:sequence>
          </xsd:extension>
        </xsd:complexContent>
      </xsd:complexType>
    </xsd:element>
    <xsd:element name="MediaServiceMetadata" ma:index="7" nillable="true" ma:displayName="MediaServiceMetadata" ma:hidden="true" ma:internalName="MediaServiceMetadata" ma:readOnly="true">
      <xsd:simpleType>
        <xsd:restriction base="dms:Note"/>
      </xsd:simpleType>
    </xsd:element>
    <xsd:element name="MediaServiceFastMetadata" ma:index="8" nillable="true" ma:displayName="MediaServiceFastMetadata" ma:hidden="true" ma:internalName="MediaServiceFastMetadata" ma:readOnly="true">
      <xsd:simpleType>
        <xsd:restriction base="dms:Note"/>
      </xsd:simpleType>
    </xsd:element>
    <xsd:element name="MediaServiceAutoTags" ma:index="13" nillable="true" ma:displayName="Tags" ma:hidden="true" ma:internalName="MediaServiceAutoTags" ma:readOnly="true">
      <xsd:simpleType>
        <xsd:restriction base="dms:Text"/>
      </xsd:simpleType>
    </xsd:element>
    <xsd:element name="MediaServiceOCR" ma:index="14" nillable="true" ma:displayName="Extracted Text" ma:hidden="true" ma:internalName="MediaServiceOCR" ma:readOnly="true">
      <xsd:simpleType>
        <xsd:restriction base="dms:Note"/>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Audience" ma:index="19" nillable="true" ma:displayName="Audience" ma:format="Dropdown" ma:hidden="true" ma:internalName="Audience" ma:readOnly="false">
      <xsd:complexType>
        <xsd:complexContent>
          <xsd:extension base="dms:MultiChoice">
            <xsd:sequence>
              <xsd:element name="Value" maxOccurs="unbounded" minOccurs="0" nillable="true">
                <xsd:simpleType>
                  <xsd:restriction base="dms:Choice">
                    <xsd:enumeration value="K-12 Students-Families"/>
                    <xsd:enumeration value="K-12 Educators"/>
                    <xsd:enumeration value="K-12 Leaders"/>
                    <xsd:enumeration value="PS Students-Families"/>
                    <xsd:enumeration value="PS Admin"/>
                    <xsd:enumeration value="PS Leaders"/>
                    <xsd:enumeration value="Council members"/>
                    <xsd:enumeration value="Elected Officials"/>
                    <xsd:enumeration value="CBOs"/>
                    <xsd:enumeration value="Internal"/>
                  </xsd:restriction>
                </xsd:simpleType>
              </xsd:element>
            </xsd:sequence>
          </xsd:extension>
        </xsd:complexContent>
      </xsd:complexType>
    </xsd:element>
    <xsd:element name="MediaServiceDateTaken" ma:index="20" nillable="true" ma:displayName="MediaServiceDateTaken" ma:hidden="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Location" ma:index="22" nillable="true" ma:displayName="Location" ma:internalName="MediaServiceLocation"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360a6a1c-50a4-4ec0-87e3-f00760ffe76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0342cf-57d7-47d6-b188-dab1e1632426" elementFormDefault="qualified">
    <xsd:import namespace="http://schemas.microsoft.com/office/2006/documentManagement/types"/>
    <xsd:import namespace="http://schemas.microsoft.com/office/infopath/2007/PartnerControls"/>
    <xsd:element name="SharedWithUsers" ma:index="9"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hidden="true" ma:internalName="SharedWithDetails" ma:readOnly="true">
      <xsd:simpleType>
        <xsd:restriction base="dms:Note"/>
      </xsd:simpleType>
    </xsd:element>
    <xsd:element name="TaxCatchAll" ma:index="25" nillable="true" ma:displayName="Taxonomy Catch All Column" ma:hidden="true" ma:list="{3710e048-4136-4f9f-8c26-6297aa3b2efa}" ma:internalName="TaxCatchAll" ma:showField="CatchAllData" ma:web="2a0342cf-57d7-47d6-b188-dab1e163242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a0342cf-57d7-47d6-b188-dab1e1632426" xsi:nil="true"/>
    <lcf76f155ced4ddcb4097134ff3c332f xmlns="894dbb2b-35e3-4e40-b282-4baa343bc3bc">
      <Terms xmlns="http://schemas.microsoft.com/office/infopath/2007/PartnerControls"/>
    </lcf76f155ced4ddcb4097134ff3c332f>
    <SharedWithUsers xmlns="2a0342cf-57d7-47d6-b188-dab1e1632426">
      <UserInfo>
        <DisplayName>Pham, Kathie (WSAC)</DisplayName>
        <AccountId>33</AccountId>
        <AccountType/>
      </UserInfo>
    </SharedWithUsers>
    <Audience xmlns="894dbb2b-35e3-4e40-b282-4baa343bc3bc" xsi:nil="true"/>
    <Program xmlns="894dbb2b-35e3-4e40-b282-4baa343bc3b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DA2BAF-6D45-40FA-8B9D-2AF928407EDB}"/>
</file>

<file path=customXml/itemProps2.xml><?xml version="1.0" encoding="utf-8"?>
<ds:datastoreItem xmlns:ds="http://schemas.openxmlformats.org/officeDocument/2006/customXml" ds:itemID="{36A8F96A-9E57-4E91-9F45-92896D225B52}">
  <ds:schemaRefs>
    <ds:schemaRef ds:uri="00c171b1-1f85-462d-9d77-e7cf50056042"/>
    <ds:schemaRef ds:uri="82ea2e54-d88c-4c72-a54d-c5b9648f309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19ADA66-7164-4364-B929-8DF4C921551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6</Slides>
  <Notes>36</Notes>
  <HiddenSlides>0</HiddenSlides>
  <ScaleCrop>false</ScaleCrop>
  <HeadingPairs>
    <vt:vector size="4" baseType="variant">
      <vt:variant>
        <vt:lpstr>Theme</vt:lpstr>
      </vt:variant>
      <vt:variant>
        <vt:i4>2</vt:i4>
      </vt:variant>
      <vt:variant>
        <vt:lpstr>Slide Titles</vt:lpstr>
      </vt:variant>
      <vt:variant>
        <vt:i4>36</vt:i4>
      </vt:variant>
    </vt:vector>
  </HeadingPairs>
  <TitlesOfParts>
    <vt:vector size="38" baseType="lpstr">
      <vt:lpstr>Sales Direction 16X9</vt:lpstr>
      <vt:lpstr>Office Theme</vt:lpstr>
      <vt:lpstr>Introducción Para Ayuda Financiera </vt:lpstr>
      <vt:lpstr>Sobre el Consejo Estudiantil de Washington </vt:lpstr>
      <vt:lpstr>¿Qué Aprenderé Hoy?</vt:lpstr>
      <vt:lpstr>¿Qué es la Ayuda Financiera?</vt:lpstr>
      <vt:lpstr> La Ayuda Financiera es como un Paraguas</vt:lpstr>
      <vt:lpstr>Subvención/Beca/Grants</vt:lpstr>
      <vt:lpstr>Washington College Grant (WA Grant)</vt:lpstr>
      <vt:lpstr>Washington College Grant Proporciona una Oportunidad Unica</vt:lpstr>
      <vt:lpstr>Becas</vt:lpstr>
      <vt:lpstr>Programa de Trabajo y Estudio/ Work Study</vt:lpstr>
      <vt:lpstr>Préstamos</vt:lpstr>
      <vt:lpstr>Fuentes de Ayuda Financiera</vt:lpstr>
      <vt:lpstr>Ejemplos de Programs de Ayuda Financiera Federales</vt:lpstr>
      <vt:lpstr>Ejemplos de Ayuda Financiera Estatal</vt:lpstr>
      <vt:lpstr>Beca College Bound Elegibilidad e Inscripción Automática: Un Proceso de Dos Pasos</vt:lpstr>
      <vt:lpstr>La Promesa de la Beca College Bound</vt:lpstr>
      <vt:lpstr>Calculadora de Ayuda Financiera Estatal</vt:lpstr>
      <vt:lpstr>FAFSA/WASFA: Regla de Uno</vt:lpstr>
      <vt:lpstr>Solicitud Gratuita de Ayuda Federal para Estudiantes(FAFSA)</vt:lpstr>
      <vt:lpstr>Dos Maneras Para Aplicar al FASFA</vt:lpstr>
      <vt:lpstr>Opciones de Idioma del Sitio Web de FAFSA</vt:lpstr>
      <vt:lpstr>FSA ID – El Primer Paso Para el FASFA</vt:lpstr>
      <vt:lpstr>Solicitud de Ayuda Financiera del Estado de Washington (WASFA)</vt:lpstr>
      <vt:lpstr>Creación de Cuenta WASFA: El Primer Paso Hacia WASFA</vt:lpstr>
      <vt:lpstr>¿El Estudiante es Dependiente o Independiente*? </vt:lpstr>
      <vt:lpstr>¿Qué Necesito Para Solicitar Ayuda Financiera?</vt:lpstr>
      <vt:lpstr>Perfil CSS</vt:lpstr>
      <vt:lpstr>Cronología de la Ayuda Financiera</vt:lpstr>
      <vt:lpstr>PowerPoint Presentation</vt:lpstr>
      <vt:lpstr>Clase de 2024 Próximos Pasos</vt:lpstr>
      <vt:lpstr>Recurso: www.wsac.wa.gov/actionplan </vt:lpstr>
      <vt:lpstr>Recurso: Recursos y Eventos de la Campaña del año 12º</vt:lpstr>
      <vt:lpstr>Recurso: Folleto de Ayuda Financiera Para Estudiantes</vt:lpstr>
      <vt:lpstr>Videos de Ayuda Financiera de Washington Para la Educación y Capacitación</vt:lpstr>
      <vt:lpstr>¡Estamos Aquí Para Ayudar!</vt:lpstr>
      <vt:lpstr>¿Pregunta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 101 20 Minute</dc:title>
  <dc:creator>Christina Winstead</dc:creator>
  <cp:revision>1</cp:revision>
  <dcterms:created xsi:type="dcterms:W3CDTF">2020-05-04T16:54:55Z</dcterms:created>
  <dcterms:modified xsi:type="dcterms:W3CDTF">2023-08-29T18:3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F64904522D3C47B4C5D78BD93A5B69</vt:lpwstr>
  </property>
  <property fmtid="{D5CDD505-2E9C-101B-9397-08002B2CF9AE}" pid="3" name="Order">
    <vt:r8>417900</vt:r8>
  </property>
  <property fmtid="{D5CDD505-2E9C-101B-9397-08002B2CF9AE}" pid="4" name="MediaServiceImageTags">
    <vt:lpwstr/>
  </property>
</Properties>
</file>